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27" r:id="rId1"/>
  </p:sldMasterIdLst>
  <p:notesMasterIdLst>
    <p:notesMasterId r:id="rId27"/>
  </p:notesMasterIdLst>
  <p:sldIdLst>
    <p:sldId id="256" r:id="rId2"/>
    <p:sldId id="285" r:id="rId3"/>
    <p:sldId id="286" r:id="rId4"/>
    <p:sldId id="272" r:id="rId5"/>
    <p:sldId id="266" r:id="rId6"/>
    <p:sldId id="259" r:id="rId7"/>
    <p:sldId id="280" r:id="rId8"/>
    <p:sldId id="263" r:id="rId9"/>
    <p:sldId id="267" r:id="rId10"/>
    <p:sldId id="260" r:id="rId11"/>
    <p:sldId id="271" r:id="rId12"/>
    <p:sldId id="261" r:id="rId13"/>
    <p:sldId id="282" r:id="rId14"/>
    <p:sldId id="283" r:id="rId15"/>
    <p:sldId id="262" r:id="rId16"/>
    <p:sldId id="281" r:id="rId17"/>
    <p:sldId id="274" r:id="rId18"/>
    <p:sldId id="264" r:id="rId19"/>
    <p:sldId id="265" r:id="rId20"/>
    <p:sldId id="270" r:id="rId21"/>
    <p:sldId id="284" r:id="rId22"/>
    <p:sldId id="279" r:id="rId23"/>
    <p:sldId id="275" r:id="rId24"/>
    <p:sldId id="276" r:id="rId25"/>
    <p:sldId id="277" r:id="rId26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33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1662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Vero\Dropbox\01%20Uni\6.%20Semester\WAB%203\Anhang\Delivered_energy_consumption_by_end-use_sector_and_fuel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800"/>
              <a:t>Anteil von ICT am weltweiten</a:t>
            </a:r>
            <a:r>
              <a:rPr lang="de-DE" sz="1800" baseline="0"/>
              <a:t> Stromverbrauch 2012 [TWh]</a:t>
            </a:r>
            <a:r>
              <a:rPr lang="de-DE" sz="1800"/>
              <a:t>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1.8055531270697985E-2"/>
          <c:y val="0.21017355619539121"/>
          <c:w val="0.9819444444444444"/>
          <c:h val="0.64052384076990376"/>
        </c:manualLayout>
      </c:layout>
      <c:ofPieChart>
        <c:ofPieType val="pie"/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82F-4EC7-809B-F6674B116C9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82F-4EC7-809B-F6674B116C97}"/>
              </c:ext>
            </c:extLst>
          </c:dPt>
          <c:dPt>
            <c:idx val="2"/>
            <c:bubble3D val="0"/>
            <c:spPr>
              <a:solidFill>
                <a:schemeClr val="accent6">
                  <a:lumMod val="75000"/>
                  <a:alpha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82F-4EC7-809B-F6674B116C9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82F-4EC7-809B-F6674B116C9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082F-4EC7-809B-F6674B116C97}"/>
              </c:ext>
            </c:extLst>
          </c:dPt>
          <c:dLbls>
            <c:dLbl>
              <c:idx val="0"/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082F-4EC7-809B-F6674B116C97}"/>
                </c:ext>
              </c:extLst>
            </c:dLbl>
            <c:dLbl>
              <c:idx val="1"/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082F-4EC7-809B-F6674B116C97}"/>
                </c:ext>
              </c:extLst>
            </c:dLbl>
            <c:dLbl>
              <c:idx val="2"/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082F-4EC7-809B-F6674B116C97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Processed Data'!$A$16:$A$19</c:f>
              <c:strCache>
                <c:ptCount val="4"/>
                <c:pt idx="0">
                  <c:v>Stromverbrauch</c:v>
                </c:pt>
                <c:pt idx="1">
                  <c:v>Netze</c:v>
                </c:pt>
                <c:pt idx="2">
                  <c:v>PCs</c:v>
                </c:pt>
                <c:pt idx="3">
                  <c:v>Data Center</c:v>
                </c:pt>
              </c:strCache>
            </c:strRef>
          </c:cat>
          <c:val>
            <c:numRef>
              <c:f>'Processed Data'!$B$16:$B$19</c:f>
              <c:numCache>
                <c:formatCode>#,##0</c:formatCode>
                <c:ptCount val="4"/>
                <c:pt idx="0">
                  <c:v>18518.277099999999</c:v>
                </c:pt>
                <c:pt idx="1">
                  <c:v>334</c:v>
                </c:pt>
                <c:pt idx="2">
                  <c:v>307</c:v>
                </c:pt>
                <c:pt idx="3">
                  <c:v>2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82F-4EC7-809B-F6674B116C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gapWidth val="100"/>
        <c:splitType val="pos"/>
        <c:splitPos val="3"/>
        <c:secondPieSize val="75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</c:of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Tabelle1!$B$2:$B$25</c:f>
              <c:numCache>
                <c:formatCode>h:mm</c:formatCode>
                <c:ptCount val="24"/>
                <c:pt idx="0">
                  <c:v>0.95833333333333304</c:v>
                </c:pt>
                <c:pt idx="1">
                  <c:v>0.999999999999999</c:v>
                </c:pt>
                <c:pt idx="2">
                  <c:v>4.1666666666665603E-2</c:v>
                </c:pt>
                <c:pt idx="3">
                  <c:v>8.3333333333332593E-2</c:v>
                </c:pt>
                <c:pt idx="4">
                  <c:v>0.125</c:v>
                </c:pt>
                <c:pt idx="5">
                  <c:v>0.16666666666666599</c:v>
                </c:pt>
                <c:pt idx="6">
                  <c:v>0.20833333333333301</c:v>
                </c:pt>
                <c:pt idx="7">
                  <c:v>0.25</c:v>
                </c:pt>
                <c:pt idx="8">
                  <c:v>0.29166666666666702</c:v>
                </c:pt>
                <c:pt idx="9">
                  <c:v>0.33333333333333298</c:v>
                </c:pt>
                <c:pt idx="10">
                  <c:v>0.375</c:v>
                </c:pt>
                <c:pt idx="11">
                  <c:v>0.41666666666666702</c:v>
                </c:pt>
                <c:pt idx="12">
                  <c:v>0.45833333333333298</c:v>
                </c:pt>
                <c:pt idx="13">
                  <c:v>0.5</c:v>
                </c:pt>
                <c:pt idx="14">
                  <c:v>0.54166666666666663</c:v>
                </c:pt>
                <c:pt idx="15">
                  <c:v>0.58333333333333337</c:v>
                </c:pt>
                <c:pt idx="16">
                  <c:v>0.625</c:v>
                </c:pt>
                <c:pt idx="17">
                  <c:v>0.66666666666666696</c:v>
                </c:pt>
                <c:pt idx="18">
                  <c:v>0.70833333333333404</c:v>
                </c:pt>
                <c:pt idx="19">
                  <c:v>0.750000000000001</c:v>
                </c:pt>
                <c:pt idx="20">
                  <c:v>0.79166666666666696</c:v>
                </c:pt>
                <c:pt idx="21">
                  <c:v>0.83333333333333404</c:v>
                </c:pt>
                <c:pt idx="22">
                  <c:v>0.875000000000001</c:v>
                </c:pt>
                <c:pt idx="23">
                  <c:v>0.91666666666666796</c:v>
                </c:pt>
              </c:numCache>
            </c:numRef>
          </c:cat>
          <c:val>
            <c:numRef>
              <c:f>Tabelle1!$A$2:$A$25</c:f>
              <c:numCache>
                <c:formatCode>General</c:formatCode>
                <c:ptCount val="24"/>
                <c:pt idx="0">
                  <c:v>0.53060725798148933</c:v>
                </c:pt>
                <c:pt idx="1">
                  <c:v>0.46500192711175498</c:v>
                </c:pt>
                <c:pt idx="2">
                  <c:v>0.4203882742098321</c:v>
                </c:pt>
                <c:pt idx="3">
                  <c:v>0.40075150401878362</c:v>
                </c:pt>
                <c:pt idx="4">
                  <c:v>0.40784571073654141</c:v>
                </c:pt>
                <c:pt idx="5">
                  <c:v>0.44103719000533786</c:v>
                </c:pt>
                <c:pt idx="6">
                  <c:v>0.49736104583465468</c:v>
                </c:pt>
                <c:pt idx="7">
                  <c:v>0.571786035929851</c:v>
                </c:pt>
                <c:pt idx="8">
                  <c:v>0.65766399758203975</c:v>
                </c:pt>
                <c:pt idx="9">
                  <c:v>0.74732370824297445</c:v>
                </c:pt>
                <c:pt idx="10">
                  <c:v>0.83275613298845563</c:v>
                </c:pt>
                <c:pt idx="11">
                  <c:v>0.9063298477551921</c:v>
                </c:pt>
                <c:pt idx="12">
                  <c:v>0.96147273172407632</c:v>
                </c:pt>
                <c:pt idx="13">
                  <c:v>0.99325903529952897</c:v>
                </c:pt>
                <c:pt idx="14">
                  <c:v>0.99884938265075207</c:v>
                </c:pt>
                <c:pt idx="15">
                  <c:v>0.97774440469831969</c:v>
                </c:pt>
                <c:pt idx="16">
                  <c:v>0.93182934626679625</c:v>
                </c:pt>
                <c:pt idx="17">
                  <c:v>0.86520566277929145</c:v>
                </c:pt>
                <c:pt idx="18">
                  <c:v>0.783824649459678</c:v>
                </c:pt>
                <c:pt idx="19">
                  <c:v>0.69495582985469506</c:v>
                </c:pt>
                <c:pt idx="20">
                  <c:v>0.60653759094598658</c:v>
                </c:pt>
                <c:pt idx="21">
                  <c:v>0.52646807068354007</c:v>
                </c:pt>
                <c:pt idx="22">
                  <c:v>0.46189964084525414</c:v>
                </c:pt>
                <c:pt idx="23">
                  <c:v>0.418600006967578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DE2-4240-AE81-F5B3CACAEE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7710344"/>
        <c:axId val="364185264"/>
      </c:lineChart>
      <c:catAx>
        <c:axId val="207710344"/>
        <c:scaling>
          <c:orientation val="minMax"/>
        </c:scaling>
        <c:delete val="0"/>
        <c:axPos val="b"/>
        <c:numFmt formatCode="h:mm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64185264"/>
        <c:crosses val="autoZero"/>
        <c:auto val="1"/>
        <c:lblAlgn val="ctr"/>
        <c:lblOffset val="100"/>
        <c:noMultiLvlLbl val="0"/>
      </c:catAx>
      <c:valAx>
        <c:axId val="3641852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07710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50000"/>
            <a:lumOff val="50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4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4110A98-F8E8-490D-B4FB-1B5F0ED9BD1B}" type="doc">
      <dgm:prSet loTypeId="urn:microsoft.com/office/officeart/2005/8/layout/default" loCatId="list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448DF7A2-CA95-415C-9F88-071DFDFEE230}">
      <dgm:prSet/>
      <dgm:spPr/>
      <dgm:t>
        <a:bodyPr/>
        <a:lstStyle/>
        <a:p>
          <a:r>
            <a:rPr lang="de-DE" dirty="0"/>
            <a:t>Netzelemente</a:t>
          </a:r>
        </a:p>
      </dgm:t>
    </dgm:pt>
    <dgm:pt modelId="{E438B8E8-DA97-45A5-B4E8-E8F5DBF5077A}" type="parTrans" cxnId="{A867C86A-99E4-4BAA-9A48-8001B47C3CD3}">
      <dgm:prSet/>
      <dgm:spPr/>
      <dgm:t>
        <a:bodyPr/>
        <a:lstStyle/>
        <a:p>
          <a:endParaRPr lang="de-DE"/>
        </a:p>
      </dgm:t>
    </dgm:pt>
    <dgm:pt modelId="{CE2008E9-8CF8-4EB7-A0BF-7E8B2FCB6797}" type="sibTrans" cxnId="{A867C86A-99E4-4BAA-9A48-8001B47C3CD3}">
      <dgm:prSet/>
      <dgm:spPr/>
      <dgm:t>
        <a:bodyPr/>
        <a:lstStyle/>
        <a:p>
          <a:endParaRPr lang="de-DE"/>
        </a:p>
      </dgm:t>
    </dgm:pt>
    <dgm:pt modelId="{2B5C9A6D-6BC8-4955-911B-5C8C0D5C5557}">
      <dgm:prSet/>
      <dgm:spPr/>
      <dgm:t>
        <a:bodyPr/>
        <a:lstStyle/>
        <a:p>
          <a:r>
            <a:rPr lang="de-DE" dirty="0"/>
            <a:t>Netzarchitektur</a:t>
          </a:r>
        </a:p>
      </dgm:t>
    </dgm:pt>
    <dgm:pt modelId="{E56529F3-D167-468A-AD81-232B9BD2BDEF}" type="parTrans" cxnId="{3CBDA8E5-A2AC-4289-8BE7-41B70DFDDA7D}">
      <dgm:prSet/>
      <dgm:spPr/>
      <dgm:t>
        <a:bodyPr/>
        <a:lstStyle/>
        <a:p>
          <a:endParaRPr lang="de-DE"/>
        </a:p>
      </dgm:t>
    </dgm:pt>
    <dgm:pt modelId="{52FC4918-1CB7-4F4F-8CF4-F67DE558BBB5}" type="sibTrans" cxnId="{3CBDA8E5-A2AC-4289-8BE7-41B70DFDDA7D}">
      <dgm:prSet/>
      <dgm:spPr/>
      <dgm:t>
        <a:bodyPr/>
        <a:lstStyle/>
        <a:p>
          <a:endParaRPr lang="de-DE"/>
        </a:p>
      </dgm:t>
    </dgm:pt>
    <dgm:pt modelId="{53FE6F74-A90F-47C1-B56D-2C1BD3B1719C}">
      <dgm:prSet/>
      <dgm:spPr/>
      <dgm:t>
        <a:bodyPr/>
        <a:lstStyle/>
        <a:p>
          <a:r>
            <a:rPr lang="de-DE" dirty="0"/>
            <a:t>Verkehrslastadaptiver Netzbetrieb</a:t>
          </a:r>
        </a:p>
      </dgm:t>
    </dgm:pt>
    <dgm:pt modelId="{0D41EB52-3667-4E4B-930C-5E0950340506}" type="parTrans" cxnId="{2DC453F7-F451-4135-8292-78755B9B42AF}">
      <dgm:prSet/>
      <dgm:spPr/>
      <dgm:t>
        <a:bodyPr/>
        <a:lstStyle/>
        <a:p>
          <a:endParaRPr lang="de-DE"/>
        </a:p>
      </dgm:t>
    </dgm:pt>
    <dgm:pt modelId="{F56CC439-2FEF-4E51-900E-E80BFFF86585}" type="sibTrans" cxnId="{2DC453F7-F451-4135-8292-78755B9B42AF}">
      <dgm:prSet/>
      <dgm:spPr/>
      <dgm:t>
        <a:bodyPr/>
        <a:lstStyle/>
        <a:p>
          <a:endParaRPr lang="de-DE"/>
        </a:p>
      </dgm:t>
    </dgm:pt>
    <dgm:pt modelId="{B4AB6E26-17E2-4B4D-BE6D-D68E0D727B08}">
      <dgm:prSet/>
      <dgm:spPr/>
      <dgm:t>
        <a:bodyPr/>
        <a:lstStyle/>
        <a:p>
          <a:r>
            <a:rPr lang="de-DE" dirty="0"/>
            <a:t>Hybrid Optical </a:t>
          </a:r>
          <a:r>
            <a:rPr lang="de-DE" dirty="0" err="1"/>
            <a:t>Switching</a:t>
          </a:r>
          <a:endParaRPr lang="de-DE" dirty="0"/>
        </a:p>
      </dgm:t>
    </dgm:pt>
    <dgm:pt modelId="{8D2761DC-A862-4136-A4F8-9567D5535660}" type="parTrans" cxnId="{D17C952C-CC3D-4E37-B8F3-D48A83AB2F64}">
      <dgm:prSet/>
      <dgm:spPr/>
      <dgm:t>
        <a:bodyPr/>
        <a:lstStyle/>
        <a:p>
          <a:endParaRPr lang="de-DE"/>
        </a:p>
      </dgm:t>
    </dgm:pt>
    <dgm:pt modelId="{185A6FF8-365A-4C76-9297-1EDF338618DC}" type="sibTrans" cxnId="{D17C952C-CC3D-4E37-B8F3-D48A83AB2F64}">
      <dgm:prSet/>
      <dgm:spPr/>
      <dgm:t>
        <a:bodyPr/>
        <a:lstStyle/>
        <a:p>
          <a:endParaRPr lang="de-DE"/>
        </a:p>
      </dgm:t>
    </dgm:pt>
    <dgm:pt modelId="{B680C4D5-EF1A-4EF6-8E47-B4CC1F065259}">
      <dgm:prSet/>
      <dgm:spPr/>
      <dgm:t>
        <a:bodyPr/>
        <a:lstStyle/>
        <a:p>
          <a:r>
            <a:rPr lang="de-DE" dirty="0"/>
            <a:t>Adaptive Optical </a:t>
          </a:r>
          <a:r>
            <a:rPr lang="de-DE" dirty="0" err="1"/>
            <a:t>Switching</a:t>
          </a:r>
          <a:endParaRPr lang="de-DE" dirty="0"/>
        </a:p>
      </dgm:t>
    </dgm:pt>
    <dgm:pt modelId="{57290D53-A704-41A1-A7B8-850A9A4AB3AE}" type="parTrans" cxnId="{CC13D278-4765-465A-A9A1-3B1F8F226EA4}">
      <dgm:prSet/>
      <dgm:spPr/>
      <dgm:t>
        <a:bodyPr/>
        <a:lstStyle/>
        <a:p>
          <a:endParaRPr lang="de-DE"/>
        </a:p>
      </dgm:t>
    </dgm:pt>
    <dgm:pt modelId="{34773396-27B7-4F9B-8DE2-CD49456E0631}" type="sibTrans" cxnId="{CC13D278-4765-465A-A9A1-3B1F8F226EA4}">
      <dgm:prSet/>
      <dgm:spPr/>
      <dgm:t>
        <a:bodyPr/>
        <a:lstStyle/>
        <a:p>
          <a:endParaRPr lang="de-DE"/>
        </a:p>
      </dgm:t>
    </dgm:pt>
    <dgm:pt modelId="{8D6D55B4-C760-492C-A553-AE9ACABB0801}" type="pres">
      <dgm:prSet presAssocID="{64110A98-F8E8-490D-B4FB-1B5F0ED9BD1B}" presName="diagram" presStyleCnt="0">
        <dgm:presLayoutVars>
          <dgm:dir/>
          <dgm:resizeHandles val="exact"/>
        </dgm:presLayoutVars>
      </dgm:prSet>
      <dgm:spPr/>
    </dgm:pt>
    <dgm:pt modelId="{A48D4FE5-FBBF-43C2-B725-A8CFCB6D1722}" type="pres">
      <dgm:prSet presAssocID="{448DF7A2-CA95-415C-9F88-071DFDFEE230}" presName="node" presStyleLbl="node1" presStyleIdx="0" presStyleCnt="5">
        <dgm:presLayoutVars>
          <dgm:bulletEnabled val="1"/>
        </dgm:presLayoutVars>
      </dgm:prSet>
      <dgm:spPr/>
    </dgm:pt>
    <dgm:pt modelId="{DABF86D1-2B84-4064-BB76-48974B0F1E36}" type="pres">
      <dgm:prSet presAssocID="{CE2008E9-8CF8-4EB7-A0BF-7E8B2FCB6797}" presName="sibTrans" presStyleCnt="0"/>
      <dgm:spPr/>
    </dgm:pt>
    <dgm:pt modelId="{CEA62D47-EB41-46E8-8306-281849F2B4F6}" type="pres">
      <dgm:prSet presAssocID="{2B5C9A6D-6BC8-4955-911B-5C8C0D5C5557}" presName="node" presStyleLbl="node1" presStyleIdx="1" presStyleCnt="5">
        <dgm:presLayoutVars>
          <dgm:bulletEnabled val="1"/>
        </dgm:presLayoutVars>
      </dgm:prSet>
      <dgm:spPr/>
    </dgm:pt>
    <dgm:pt modelId="{D9EB037F-709C-4063-A858-AACB599BE216}" type="pres">
      <dgm:prSet presAssocID="{52FC4918-1CB7-4F4F-8CF4-F67DE558BBB5}" presName="sibTrans" presStyleCnt="0"/>
      <dgm:spPr/>
    </dgm:pt>
    <dgm:pt modelId="{57BE454C-10B4-494C-9561-A80692F8F997}" type="pres">
      <dgm:prSet presAssocID="{53FE6F74-A90F-47C1-B56D-2C1BD3B1719C}" presName="node" presStyleLbl="node1" presStyleIdx="2" presStyleCnt="5">
        <dgm:presLayoutVars>
          <dgm:bulletEnabled val="1"/>
        </dgm:presLayoutVars>
      </dgm:prSet>
      <dgm:spPr/>
    </dgm:pt>
    <dgm:pt modelId="{571E0C33-8150-4838-87DE-AD157074B058}" type="pres">
      <dgm:prSet presAssocID="{F56CC439-2FEF-4E51-900E-E80BFFF86585}" presName="sibTrans" presStyleCnt="0"/>
      <dgm:spPr/>
    </dgm:pt>
    <dgm:pt modelId="{A4403BAE-959B-43ED-BB26-F759C64CED16}" type="pres">
      <dgm:prSet presAssocID="{B4AB6E26-17E2-4B4D-BE6D-D68E0D727B08}" presName="node" presStyleLbl="node1" presStyleIdx="3" presStyleCnt="5">
        <dgm:presLayoutVars>
          <dgm:bulletEnabled val="1"/>
        </dgm:presLayoutVars>
      </dgm:prSet>
      <dgm:spPr/>
    </dgm:pt>
    <dgm:pt modelId="{093F5628-B7E4-48BA-8469-B509572C2CD1}" type="pres">
      <dgm:prSet presAssocID="{185A6FF8-365A-4C76-9297-1EDF338618DC}" presName="sibTrans" presStyleCnt="0"/>
      <dgm:spPr/>
    </dgm:pt>
    <dgm:pt modelId="{A3961B9E-FF29-46BD-A7AE-78F927FD5B5D}" type="pres">
      <dgm:prSet presAssocID="{B680C4D5-EF1A-4EF6-8E47-B4CC1F065259}" presName="node" presStyleLbl="node1" presStyleIdx="4" presStyleCnt="5">
        <dgm:presLayoutVars>
          <dgm:bulletEnabled val="1"/>
        </dgm:presLayoutVars>
      </dgm:prSet>
      <dgm:spPr/>
    </dgm:pt>
  </dgm:ptLst>
  <dgm:cxnLst>
    <dgm:cxn modelId="{C0413339-9B5C-40AC-B25F-A01C7C45AA75}" type="presOf" srcId="{B4AB6E26-17E2-4B4D-BE6D-D68E0D727B08}" destId="{A4403BAE-959B-43ED-BB26-F759C64CED16}" srcOrd="0" destOrd="0" presId="urn:microsoft.com/office/officeart/2005/8/layout/default"/>
    <dgm:cxn modelId="{A867C86A-99E4-4BAA-9A48-8001B47C3CD3}" srcId="{64110A98-F8E8-490D-B4FB-1B5F0ED9BD1B}" destId="{448DF7A2-CA95-415C-9F88-071DFDFEE230}" srcOrd="0" destOrd="0" parTransId="{E438B8E8-DA97-45A5-B4E8-E8F5DBF5077A}" sibTransId="{CE2008E9-8CF8-4EB7-A0BF-7E8B2FCB6797}"/>
    <dgm:cxn modelId="{CF042842-22DF-4BEC-AA30-1E1DFED13E9F}" type="presOf" srcId="{2B5C9A6D-6BC8-4955-911B-5C8C0D5C5557}" destId="{CEA62D47-EB41-46E8-8306-281849F2B4F6}" srcOrd="0" destOrd="0" presId="urn:microsoft.com/office/officeart/2005/8/layout/default"/>
    <dgm:cxn modelId="{2DC453F7-F451-4135-8292-78755B9B42AF}" srcId="{64110A98-F8E8-490D-B4FB-1B5F0ED9BD1B}" destId="{53FE6F74-A90F-47C1-B56D-2C1BD3B1719C}" srcOrd="2" destOrd="0" parTransId="{0D41EB52-3667-4E4B-930C-5E0950340506}" sibTransId="{F56CC439-2FEF-4E51-900E-E80BFFF86585}"/>
    <dgm:cxn modelId="{D17C952C-CC3D-4E37-B8F3-D48A83AB2F64}" srcId="{64110A98-F8E8-490D-B4FB-1B5F0ED9BD1B}" destId="{B4AB6E26-17E2-4B4D-BE6D-D68E0D727B08}" srcOrd="3" destOrd="0" parTransId="{8D2761DC-A862-4136-A4F8-9567D5535660}" sibTransId="{185A6FF8-365A-4C76-9297-1EDF338618DC}"/>
    <dgm:cxn modelId="{CC13D278-4765-465A-A9A1-3B1F8F226EA4}" srcId="{64110A98-F8E8-490D-B4FB-1B5F0ED9BD1B}" destId="{B680C4D5-EF1A-4EF6-8E47-B4CC1F065259}" srcOrd="4" destOrd="0" parTransId="{57290D53-A704-41A1-A7B8-850A9A4AB3AE}" sibTransId="{34773396-27B7-4F9B-8DE2-CD49456E0631}"/>
    <dgm:cxn modelId="{E3EF76BB-FCDB-4917-B87F-96AB2AF1097E}" type="presOf" srcId="{448DF7A2-CA95-415C-9F88-071DFDFEE230}" destId="{A48D4FE5-FBBF-43C2-B725-A8CFCB6D1722}" srcOrd="0" destOrd="0" presId="urn:microsoft.com/office/officeart/2005/8/layout/default"/>
    <dgm:cxn modelId="{63C97559-9474-408C-80EA-F2786A5E75DF}" type="presOf" srcId="{53FE6F74-A90F-47C1-B56D-2C1BD3B1719C}" destId="{57BE454C-10B4-494C-9561-A80692F8F997}" srcOrd="0" destOrd="0" presId="urn:microsoft.com/office/officeart/2005/8/layout/default"/>
    <dgm:cxn modelId="{3CBDA8E5-A2AC-4289-8BE7-41B70DFDDA7D}" srcId="{64110A98-F8E8-490D-B4FB-1B5F0ED9BD1B}" destId="{2B5C9A6D-6BC8-4955-911B-5C8C0D5C5557}" srcOrd="1" destOrd="0" parTransId="{E56529F3-D167-468A-AD81-232B9BD2BDEF}" sibTransId="{52FC4918-1CB7-4F4F-8CF4-F67DE558BBB5}"/>
    <dgm:cxn modelId="{1BD175D6-8771-4B27-B976-6EC84C10A7A8}" type="presOf" srcId="{64110A98-F8E8-490D-B4FB-1B5F0ED9BD1B}" destId="{8D6D55B4-C760-492C-A553-AE9ACABB0801}" srcOrd="0" destOrd="0" presId="urn:microsoft.com/office/officeart/2005/8/layout/default"/>
    <dgm:cxn modelId="{293E7DF2-6B5A-44CE-803A-B7F20192949F}" type="presOf" srcId="{B680C4D5-EF1A-4EF6-8E47-B4CC1F065259}" destId="{A3961B9E-FF29-46BD-A7AE-78F927FD5B5D}" srcOrd="0" destOrd="0" presId="urn:microsoft.com/office/officeart/2005/8/layout/default"/>
    <dgm:cxn modelId="{906588AA-DA6F-4E6D-BA51-71A508F36C56}" type="presParOf" srcId="{8D6D55B4-C760-492C-A553-AE9ACABB0801}" destId="{A48D4FE5-FBBF-43C2-B725-A8CFCB6D1722}" srcOrd="0" destOrd="0" presId="urn:microsoft.com/office/officeart/2005/8/layout/default"/>
    <dgm:cxn modelId="{654A91A4-3F97-4BD7-A416-FE80AF6A9889}" type="presParOf" srcId="{8D6D55B4-C760-492C-A553-AE9ACABB0801}" destId="{DABF86D1-2B84-4064-BB76-48974B0F1E36}" srcOrd="1" destOrd="0" presId="urn:microsoft.com/office/officeart/2005/8/layout/default"/>
    <dgm:cxn modelId="{66739CA4-0102-4AA8-A239-A8F68B766307}" type="presParOf" srcId="{8D6D55B4-C760-492C-A553-AE9ACABB0801}" destId="{CEA62D47-EB41-46E8-8306-281849F2B4F6}" srcOrd="2" destOrd="0" presId="urn:microsoft.com/office/officeart/2005/8/layout/default"/>
    <dgm:cxn modelId="{6F75473B-00D5-415B-ADFB-FC11304BDDEA}" type="presParOf" srcId="{8D6D55B4-C760-492C-A553-AE9ACABB0801}" destId="{D9EB037F-709C-4063-A858-AACB599BE216}" srcOrd="3" destOrd="0" presId="urn:microsoft.com/office/officeart/2005/8/layout/default"/>
    <dgm:cxn modelId="{B37CDE5E-C4F8-43D4-A8E2-A3DE01BE8124}" type="presParOf" srcId="{8D6D55B4-C760-492C-A553-AE9ACABB0801}" destId="{57BE454C-10B4-494C-9561-A80692F8F997}" srcOrd="4" destOrd="0" presId="urn:microsoft.com/office/officeart/2005/8/layout/default"/>
    <dgm:cxn modelId="{6635399D-F7AF-4524-BCCE-187DF6431E77}" type="presParOf" srcId="{8D6D55B4-C760-492C-A553-AE9ACABB0801}" destId="{571E0C33-8150-4838-87DE-AD157074B058}" srcOrd="5" destOrd="0" presId="urn:microsoft.com/office/officeart/2005/8/layout/default"/>
    <dgm:cxn modelId="{DB81A453-112E-42AD-8E35-353B897C773B}" type="presParOf" srcId="{8D6D55B4-C760-492C-A553-AE9ACABB0801}" destId="{A4403BAE-959B-43ED-BB26-F759C64CED16}" srcOrd="6" destOrd="0" presId="urn:microsoft.com/office/officeart/2005/8/layout/default"/>
    <dgm:cxn modelId="{5EB668DD-B771-4E73-A734-8F8A20FC4841}" type="presParOf" srcId="{8D6D55B4-C760-492C-A553-AE9ACABB0801}" destId="{093F5628-B7E4-48BA-8469-B509572C2CD1}" srcOrd="7" destOrd="0" presId="urn:microsoft.com/office/officeart/2005/8/layout/default"/>
    <dgm:cxn modelId="{519DB1FA-3C65-476A-8718-B9DC8543991F}" type="presParOf" srcId="{8D6D55B4-C760-492C-A553-AE9ACABB0801}" destId="{A3961B9E-FF29-46BD-A7AE-78F927FD5B5D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BE3439D-E7B5-44E4-9D07-2682692D4D9E}" type="doc">
      <dgm:prSet loTypeId="urn:microsoft.com/office/officeart/2005/8/layout/hList6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de-DE"/>
        </a:p>
      </dgm:t>
    </dgm:pt>
    <dgm:pt modelId="{896A9926-0DC9-4555-B70E-C73205A03087}">
      <dgm:prSet phldrT="[Text]"/>
      <dgm:spPr/>
      <dgm:t>
        <a:bodyPr/>
        <a:lstStyle/>
        <a:p>
          <a:r>
            <a:rPr lang="de-DE" dirty="0"/>
            <a:t>Literaturrecherche</a:t>
          </a:r>
        </a:p>
      </dgm:t>
    </dgm:pt>
    <dgm:pt modelId="{1D348D6E-AC05-42A0-9987-CC34820A29D8}" type="parTrans" cxnId="{F0CA3541-660A-4CB3-9CF4-E6D49DD5E3BE}">
      <dgm:prSet/>
      <dgm:spPr/>
      <dgm:t>
        <a:bodyPr/>
        <a:lstStyle/>
        <a:p>
          <a:endParaRPr lang="de-DE"/>
        </a:p>
      </dgm:t>
    </dgm:pt>
    <dgm:pt modelId="{9EF555B3-A595-462E-9274-C71C33FDB76D}" type="sibTrans" cxnId="{F0CA3541-660A-4CB3-9CF4-E6D49DD5E3BE}">
      <dgm:prSet/>
      <dgm:spPr/>
      <dgm:t>
        <a:bodyPr/>
        <a:lstStyle/>
        <a:p>
          <a:endParaRPr lang="de-DE"/>
        </a:p>
      </dgm:t>
    </dgm:pt>
    <dgm:pt modelId="{7D3BA56F-C51D-40C3-81C8-15FB1A9A5F0D}">
      <dgm:prSet phldrT="[Text]"/>
      <dgm:spPr/>
      <dgm:t>
        <a:bodyPr/>
        <a:lstStyle/>
        <a:p>
          <a:r>
            <a:rPr lang="de-DE" dirty="0"/>
            <a:t>Methoden zur </a:t>
          </a:r>
          <a:r>
            <a:rPr lang="de-DE" dirty="0" err="1"/>
            <a:t>Effizenzsteigerung</a:t>
          </a:r>
          <a:endParaRPr lang="de-DE" dirty="0"/>
        </a:p>
      </dgm:t>
    </dgm:pt>
    <dgm:pt modelId="{A72D3D1B-47A3-4A16-8692-108284BEB410}" type="parTrans" cxnId="{17E54A1C-6784-4779-B209-6BDC289A8A96}">
      <dgm:prSet/>
      <dgm:spPr/>
      <dgm:t>
        <a:bodyPr/>
        <a:lstStyle/>
        <a:p>
          <a:endParaRPr lang="de-DE"/>
        </a:p>
      </dgm:t>
    </dgm:pt>
    <dgm:pt modelId="{D1BFD622-30D5-49FB-974B-39BC704E3D38}" type="sibTrans" cxnId="{17E54A1C-6784-4779-B209-6BDC289A8A96}">
      <dgm:prSet/>
      <dgm:spPr/>
      <dgm:t>
        <a:bodyPr/>
        <a:lstStyle/>
        <a:p>
          <a:endParaRPr lang="de-DE"/>
        </a:p>
      </dgm:t>
    </dgm:pt>
    <dgm:pt modelId="{8F50C670-63A0-4951-B40B-171DFCC71320}">
      <dgm:prSet phldrT="[Text]"/>
      <dgm:spPr/>
      <dgm:t>
        <a:bodyPr/>
        <a:lstStyle/>
        <a:p>
          <a:r>
            <a:rPr lang="de-DE" dirty="0"/>
            <a:t>Grundlagen </a:t>
          </a:r>
          <a:r>
            <a:rPr lang="de-DE" dirty="0" err="1"/>
            <a:t>Carriernetze</a:t>
          </a:r>
          <a:endParaRPr lang="de-DE" dirty="0"/>
        </a:p>
      </dgm:t>
    </dgm:pt>
    <dgm:pt modelId="{78E709E3-83B2-49B5-A841-072D355C7260}" type="parTrans" cxnId="{E37E36BB-6F2F-4B85-AE2A-EA512A5333FA}">
      <dgm:prSet/>
      <dgm:spPr/>
      <dgm:t>
        <a:bodyPr/>
        <a:lstStyle/>
        <a:p>
          <a:endParaRPr lang="de-DE"/>
        </a:p>
      </dgm:t>
    </dgm:pt>
    <dgm:pt modelId="{37E23C32-BC21-4527-92D2-FE7913AD24C7}" type="sibTrans" cxnId="{E37E36BB-6F2F-4B85-AE2A-EA512A5333FA}">
      <dgm:prSet/>
      <dgm:spPr/>
      <dgm:t>
        <a:bodyPr/>
        <a:lstStyle/>
        <a:p>
          <a:endParaRPr lang="de-DE"/>
        </a:p>
      </dgm:t>
    </dgm:pt>
    <dgm:pt modelId="{8BA25613-F11F-4545-A8A2-6439DBB5155D}">
      <dgm:prSet phldrT="[Text]"/>
      <dgm:spPr/>
      <dgm:t>
        <a:bodyPr/>
        <a:lstStyle/>
        <a:p>
          <a:r>
            <a:rPr lang="de-DE" dirty="0"/>
            <a:t>Modellierung</a:t>
          </a:r>
        </a:p>
      </dgm:t>
    </dgm:pt>
    <dgm:pt modelId="{8E6ABE2D-C2F9-4913-B307-3DD1DBB3615D}" type="parTrans" cxnId="{774B5DA1-1B9B-4284-93C3-CBD2869E78F5}">
      <dgm:prSet/>
      <dgm:spPr/>
      <dgm:t>
        <a:bodyPr/>
        <a:lstStyle/>
        <a:p>
          <a:endParaRPr lang="de-DE"/>
        </a:p>
      </dgm:t>
    </dgm:pt>
    <dgm:pt modelId="{82CF0707-BE13-40CD-BB8E-981819C06891}" type="sibTrans" cxnId="{774B5DA1-1B9B-4284-93C3-CBD2869E78F5}">
      <dgm:prSet/>
      <dgm:spPr/>
      <dgm:t>
        <a:bodyPr/>
        <a:lstStyle/>
        <a:p>
          <a:endParaRPr lang="de-DE"/>
        </a:p>
      </dgm:t>
    </dgm:pt>
    <dgm:pt modelId="{18EFA8AC-32C3-4506-B9B2-011B117E37DC}">
      <dgm:prSet phldrT="[Text]"/>
      <dgm:spPr/>
      <dgm:t>
        <a:bodyPr/>
        <a:lstStyle/>
        <a:p>
          <a:r>
            <a:rPr lang="de-DE" dirty="0"/>
            <a:t>Softwarearchitektur</a:t>
          </a:r>
        </a:p>
      </dgm:t>
    </dgm:pt>
    <dgm:pt modelId="{C184F1F7-DFF6-4090-AEDE-FCA6B449EFBD}" type="parTrans" cxnId="{3BF93C43-9009-41A1-A424-1AFF99C0BD4B}">
      <dgm:prSet/>
      <dgm:spPr/>
      <dgm:t>
        <a:bodyPr/>
        <a:lstStyle/>
        <a:p>
          <a:endParaRPr lang="de-DE"/>
        </a:p>
      </dgm:t>
    </dgm:pt>
    <dgm:pt modelId="{E328FD57-E92B-4C6F-B0E4-E32A36931955}" type="sibTrans" cxnId="{3BF93C43-9009-41A1-A424-1AFF99C0BD4B}">
      <dgm:prSet/>
      <dgm:spPr/>
      <dgm:t>
        <a:bodyPr/>
        <a:lstStyle/>
        <a:p>
          <a:endParaRPr lang="de-DE"/>
        </a:p>
      </dgm:t>
    </dgm:pt>
    <dgm:pt modelId="{5F409315-763A-4399-A5A5-EF276464E919}">
      <dgm:prSet phldrT="[Text]"/>
      <dgm:spPr/>
      <dgm:t>
        <a:bodyPr/>
        <a:lstStyle/>
        <a:p>
          <a:r>
            <a:rPr lang="de-DE" dirty="0"/>
            <a:t>Routing-Algorithmus</a:t>
          </a:r>
        </a:p>
      </dgm:t>
    </dgm:pt>
    <dgm:pt modelId="{A0587723-9855-426D-8E6F-5E126BB73E78}" type="parTrans" cxnId="{2142DF22-7219-4ED1-A671-B44251BA82DB}">
      <dgm:prSet/>
      <dgm:spPr/>
      <dgm:t>
        <a:bodyPr/>
        <a:lstStyle/>
        <a:p>
          <a:endParaRPr lang="de-DE"/>
        </a:p>
      </dgm:t>
    </dgm:pt>
    <dgm:pt modelId="{671ADF6E-2D2F-4E05-9614-FB9C104FE649}" type="sibTrans" cxnId="{2142DF22-7219-4ED1-A671-B44251BA82DB}">
      <dgm:prSet/>
      <dgm:spPr/>
      <dgm:t>
        <a:bodyPr/>
        <a:lstStyle/>
        <a:p>
          <a:endParaRPr lang="de-DE"/>
        </a:p>
      </dgm:t>
    </dgm:pt>
    <dgm:pt modelId="{68ADBA83-EC27-4B28-89CE-60228BDF1C8F}">
      <dgm:prSet phldrT="[Text]"/>
      <dgm:spPr/>
      <dgm:t>
        <a:bodyPr/>
        <a:lstStyle/>
        <a:p>
          <a:r>
            <a:rPr lang="de-DE" dirty="0"/>
            <a:t>Implementierung</a:t>
          </a:r>
        </a:p>
      </dgm:t>
    </dgm:pt>
    <dgm:pt modelId="{81C66F24-29DA-4597-8468-B8D78890FD13}" type="parTrans" cxnId="{6B3F80F9-CB5F-443B-BA27-DF47CACEEA52}">
      <dgm:prSet/>
      <dgm:spPr/>
      <dgm:t>
        <a:bodyPr/>
        <a:lstStyle/>
        <a:p>
          <a:endParaRPr lang="de-DE"/>
        </a:p>
      </dgm:t>
    </dgm:pt>
    <dgm:pt modelId="{85EFFCF3-8DCD-41F5-A6BA-9072ADA9CCA4}" type="sibTrans" cxnId="{6B3F80F9-CB5F-443B-BA27-DF47CACEEA52}">
      <dgm:prSet/>
      <dgm:spPr/>
      <dgm:t>
        <a:bodyPr/>
        <a:lstStyle/>
        <a:p>
          <a:endParaRPr lang="de-DE"/>
        </a:p>
      </dgm:t>
    </dgm:pt>
    <dgm:pt modelId="{9F3E2850-C021-4201-8EA6-BB7C28E829DB}">
      <dgm:prSet phldrT="[Text]"/>
      <dgm:spPr/>
      <dgm:t>
        <a:bodyPr/>
        <a:lstStyle/>
        <a:p>
          <a:r>
            <a:rPr lang="de-DE" dirty="0"/>
            <a:t>Umsetzung der Softwaremodellierung</a:t>
          </a:r>
        </a:p>
      </dgm:t>
    </dgm:pt>
    <dgm:pt modelId="{2CBBDA44-0DD8-4E56-AB4B-C0FEDE4CB751}" type="parTrans" cxnId="{33517B22-B80E-45AC-B081-CE544824B17B}">
      <dgm:prSet/>
      <dgm:spPr/>
      <dgm:t>
        <a:bodyPr/>
        <a:lstStyle/>
        <a:p>
          <a:endParaRPr lang="de-DE"/>
        </a:p>
      </dgm:t>
    </dgm:pt>
    <dgm:pt modelId="{170AC378-4AC2-43C8-A39E-C3643EDA28C3}" type="sibTrans" cxnId="{33517B22-B80E-45AC-B081-CE544824B17B}">
      <dgm:prSet/>
      <dgm:spPr/>
      <dgm:t>
        <a:bodyPr/>
        <a:lstStyle/>
        <a:p>
          <a:endParaRPr lang="de-DE"/>
        </a:p>
      </dgm:t>
    </dgm:pt>
    <dgm:pt modelId="{66340F4C-3F80-4892-AD23-7E32574FA8F4}">
      <dgm:prSet phldrT="[Text]"/>
      <dgm:spPr/>
      <dgm:t>
        <a:bodyPr/>
        <a:lstStyle/>
        <a:p>
          <a:r>
            <a:rPr lang="de-DE" dirty="0"/>
            <a:t>Verwendung von Java und MySQL</a:t>
          </a:r>
        </a:p>
      </dgm:t>
    </dgm:pt>
    <dgm:pt modelId="{16911308-149D-40CF-861A-56F292FAD87D}" type="parTrans" cxnId="{E670EE87-4468-4AA9-8E5E-3CB0A7FE54BC}">
      <dgm:prSet/>
      <dgm:spPr/>
      <dgm:t>
        <a:bodyPr/>
        <a:lstStyle/>
        <a:p>
          <a:endParaRPr lang="de-DE"/>
        </a:p>
      </dgm:t>
    </dgm:pt>
    <dgm:pt modelId="{2897BBE6-F9F7-4BBC-83AD-49324EA52C66}" type="sibTrans" cxnId="{E670EE87-4468-4AA9-8E5E-3CB0A7FE54BC}">
      <dgm:prSet/>
      <dgm:spPr/>
      <dgm:t>
        <a:bodyPr/>
        <a:lstStyle/>
        <a:p>
          <a:endParaRPr lang="de-DE"/>
        </a:p>
      </dgm:t>
    </dgm:pt>
    <dgm:pt modelId="{C498577A-AA58-4D07-B4A9-6C1BFAD33359}">
      <dgm:prSet phldrT="[Text]"/>
      <dgm:spPr/>
      <dgm:t>
        <a:bodyPr/>
        <a:lstStyle/>
        <a:p>
          <a:r>
            <a:rPr lang="de-DE" dirty="0"/>
            <a:t>Spezifikationen reale Netze</a:t>
          </a:r>
        </a:p>
      </dgm:t>
    </dgm:pt>
    <dgm:pt modelId="{C518B487-0C80-4F2E-BEC1-8CB66057E41D}" type="parTrans" cxnId="{DBB69483-9D70-4271-B34E-284899CEDA7D}">
      <dgm:prSet/>
      <dgm:spPr/>
      <dgm:t>
        <a:bodyPr/>
        <a:lstStyle/>
        <a:p>
          <a:endParaRPr lang="de-DE"/>
        </a:p>
      </dgm:t>
    </dgm:pt>
    <dgm:pt modelId="{DE5705DC-16FB-4CF9-9C12-3DF7EEBBEC27}" type="sibTrans" cxnId="{DBB69483-9D70-4271-B34E-284899CEDA7D}">
      <dgm:prSet/>
      <dgm:spPr/>
      <dgm:t>
        <a:bodyPr/>
        <a:lstStyle/>
        <a:p>
          <a:endParaRPr lang="de-DE"/>
        </a:p>
      </dgm:t>
    </dgm:pt>
    <dgm:pt modelId="{55FACB22-3214-425D-AFDB-56CD0CDF4EC5}">
      <dgm:prSet phldrT="[Text]"/>
      <dgm:spPr/>
      <dgm:t>
        <a:bodyPr/>
        <a:lstStyle/>
        <a:p>
          <a:r>
            <a:rPr lang="de-DE" dirty="0"/>
            <a:t>Anforderungsanalyse</a:t>
          </a:r>
        </a:p>
      </dgm:t>
    </dgm:pt>
    <dgm:pt modelId="{742C6E3B-1CE7-4F8A-AAF2-271056954369}" type="parTrans" cxnId="{9505DE82-11E6-49DD-B7A6-CD95B5E07D71}">
      <dgm:prSet/>
      <dgm:spPr/>
      <dgm:t>
        <a:bodyPr/>
        <a:lstStyle/>
        <a:p>
          <a:endParaRPr lang="de-DE"/>
        </a:p>
      </dgm:t>
    </dgm:pt>
    <dgm:pt modelId="{FF2A6861-62B9-4CB1-89A9-081BAE9B66F8}" type="sibTrans" cxnId="{9505DE82-11E6-49DD-B7A6-CD95B5E07D71}">
      <dgm:prSet/>
      <dgm:spPr/>
      <dgm:t>
        <a:bodyPr/>
        <a:lstStyle/>
        <a:p>
          <a:endParaRPr lang="de-DE"/>
        </a:p>
      </dgm:t>
    </dgm:pt>
    <dgm:pt modelId="{4000A8A2-DDDB-4751-BC47-3EAA353A1216}">
      <dgm:prSet phldrT="[Text]"/>
      <dgm:spPr/>
      <dgm:t>
        <a:bodyPr/>
        <a:lstStyle/>
        <a:p>
          <a:r>
            <a:rPr lang="de-DE" dirty="0"/>
            <a:t>Realistisches Ergebnis</a:t>
          </a:r>
        </a:p>
      </dgm:t>
    </dgm:pt>
    <dgm:pt modelId="{7EF400EA-C562-4A60-8245-992A4A44F59D}" type="parTrans" cxnId="{04E0C394-4255-4D59-8E1B-E7B3DCC874C4}">
      <dgm:prSet/>
      <dgm:spPr/>
      <dgm:t>
        <a:bodyPr/>
        <a:lstStyle/>
        <a:p>
          <a:endParaRPr lang="de-DE"/>
        </a:p>
      </dgm:t>
    </dgm:pt>
    <dgm:pt modelId="{BB8CEB97-E5C2-47B6-AAD7-B70FA5A835DB}" type="sibTrans" cxnId="{04E0C394-4255-4D59-8E1B-E7B3DCC874C4}">
      <dgm:prSet/>
      <dgm:spPr/>
      <dgm:t>
        <a:bodyPr/>
        <a:lstStyle/>
        <a:p>
          <a:endParaRPr lang="de-DE"/>
        </a:p>
      </dgm:t>
    </dgm:pt>
    <dgm:pt modelId="{C890ABBC-5C18-4E31-A8E6-7D8A458B54F7}">
      <dgm:prSet phldrT="[Text]"/>
      <dgm:spPr/>
      <dgm:t>
        <a:bodyPr/>
        <a:lstStyle/>
        <a:p>
          <a:r>
            <a:rPr lang="de-DE" dirty="0"/>
            <a:t>Netzdefinition</a:t>
          </a:r>
        </a:p>
      </dgm:t>
    </dgm:pt>
    <dgm:pt modelId="{BFAEAE90-718F-4B0F-9D9D-60228D9E71BF}" type="parTrans" cxnId="{1F644419-CFBF-4D2D-8CF1-932EF442575E}">
      <dgm:prSet/>
      <dgm:spPr/>
      <dgm:t>
        <a:bodyPr/>
        <a:lstStyle/>
        <a:p>
          <a:endParaRPr lang="de-DE"/>
        </a:p>
      </dgm:t>
    </dgm:pt>
    <dgm:pt modelId="{465B52F7-8E2F-4EB0-BC89-D3196E0673B9}" type="sibTrans" cxnId="{1F644419-CFBF-4D2D-8CF1-932EF442575E}">
      <dgm:prSet/>
      <dgm:spPr/>
      <dgm:t>
        <a:bodyPr/>
        <a:lstStyle/>
        <a:p>
          <a:endParaRPr lang="de-DE"/>
        </a:p>
      </dgm:t>
    </dgm:pt>
    <dgm:pt modelId="{3A2BB5EB-B1E7-4E54-8C02-9B95D7FA4A32}" type="pres">
      <dgm:prSet presAssocID="{7BE3439D-E7B5-44E4-9D07-2682692D4D9E}" presName="Name0" presStyleCnt="0">
        <dgm:presLayoutVars>
          <dgm:dir/>
          <dgm:resizeHandles val="exact"/>
        </dgm:presLayoutVars>
      </dgm:prSet>
      <dgm:spPr/>
    </dgm:pt>
    <dgm:pt modelId="{953F3EA3-45AB-464E-9879-FA554B1F9C73}" type="pres">
      <dgm:prSet presAssocID="{896A9926-0DC9-4555-B70E-C73205A03087}" presName="node" presStyleLbl="node1" presStyleIdx="0" presStyleCnt="3">
        <dgm:presLayoutVars>
          <dgm:bulletEnabled val="1"/>
        </dgm:presLayoutVars>
      </dgm:prSet>
      <dgm:spPr/>
    </dgm:pt>
    <dgm:pt modelId="{33ECF001-6E14-48EF-A6C0-673236298D73}" type="pres">
      <dgm:prSet presAssocID="{9EF555B3-A595-462E-9274-C71C33FDB76D}" presName="sibTrans" presStyleCnt="0"/>
      <dgm:spPr/>
    </dgm:pt>
    <dgm:pt modelId="{B15488B2-CF2F-4320-8A28-5121C92398E2}" type="pres">
      <dgm:prSet presAssocID="{8BA25613-F11F-4545-A8A2-6439DBB5155D}" presName="node" presStyleLbl="node1" presStyleIdx="1" presStyleCnt="3">
        <dgm:presLayoutVars>
          <dgm:bulletEnabled val="1"/>
        </dgm:presLayoutVars>
      </dgm:prSet>
      <dgm:spPr/>
    </dgm:pt>
    <dgm:pt modelId="{5D8BC481-6626-4723-B444-EEF55CA593D1}" type="pres">
      <dgm:prSet presAssocID="{82CF0707-BE13-40CD-BB8E-981819C06891}" presName="sibTrans" presStyleCnt="0"/>
      <dgm:spPr/>
    </dgm:pt>
    <dgm:pt modelId="{C059C74B-994A-45A9-9BCF-C8ED005B530B}" type="pres">
      <dgm:prSet presAssocID="{68ADBA83-EC27-4B28-89CE-60228BDF1C8F}" presName="node" presStyleLbl="node1" presStyleIdx="2" presStyleCnt="3">
        <dgm:presLayoutVars>
          <dgm:bulletEnabled val="1"/>
        </dgm:presLayoutVars>
      </dgm:prSet>
      <dgm:spPr/>
    </dgm:pt>
  </dgm:ptLst>
  <dgm:cxnLst>
    <dgm:cxn modelId="{3F460FA8-C403-4CE8-8B77-F81C68355EBD}" type="presOf" srcId="{68ADBA83-EC27-4B28-89CE-60228BDF1C8F}" destId="{C059C74B-994A-45A9-9BCF-C8ED005B530B}" srcOrd="0" destOrd="0" presId="urn:microsoft.com/office/officeart/2005/8/layout/hList6"/>
    <dgm:cxn modelId="{09912E3A-8310-47A2-9D59-F62EE1BDA1DC}" type="presOf" srcId="{18EFA8AC-32C3-4506-B9B2-011B117E37DC}" destId="{B15488B2-CF2F-4320-8A28-5121C92398E2}" srcOrd="0" destOrd="1" presId="urn:microsoft.com/office/officeart/2005/8/layout/hList6"/>
    <dgm:cxn modelId="{33517B22-B80E-45AC-B081-CE544824B17B}" srcId="{68ADBA83-EC27-4B28-89CE-60228BDF1C8F}" destId="{9F3E2850-C021-4201-8EA6-BB7C28E829DB}" srcOrd="0" destOrd="0" parTransId="{2CBBDA44-0DD8-4E56-AB4B-C0FEDE4CB751}" sibTransId="{170AC378-4AC2-43C8-A39E-C3643EDA28C3}"/>
    <dgm:cxn modelId="{CD873B95-DD2F-40D4-8694-611DFE75ECE7}" type="presOf" srcId="{9F3E2850-C021-4201-8EA6-BB7C28E829DB}" destId="{C059C74B-994A-45A9-9BCF-C8ED005B530B}" srcOrd="0" destOrd="1" presId="urn:microsoft.com/office/officeart/2005/8/layout/hList6"/>
    <dgm:cxn modelId="{F0CA3541-660A-4CB3-9CF4-E6D49DD5E3BE}" srcId="{7BE3439D-E7B5-44E4-9D07-2682692D4D9E}" destId="{896A9926-0DC9-4555-B70E-C73205A03087}" srcOrd="0" destOrd="0" parTransId="{1D348D6E-AC05-42A0-9987-CC34820A29D8}" sibTransId="{9EF555B3-A595-462E-9274-C71C33FDB76D}"/>
    <dgm:cxn modelId="{17E54A1C-6784-4779-B209-6BDC289A8A96}" srcId="{896A9926-0DC9-4555-B70E-C73205A03087}" destId="{7D3BA56F-C51D-40C3-81C8-15FB1A9A5F0D}" srcOrd="0" destOrd="0" parTransId="{A72D3D1B-47A3-4A16-8692-108284BEB410}" sibTransId="{D1BFD622-30D5-49FB-974B-39BC704E3D38}"/>
    <dgm:cxn modelId="{774B5DA1-1B9B-4284-93C3-CBD2869E78F5}" srcId="{7BE3439D-E7B5-44E4-9D07-2682692D4D9E}" destId="{8BA25613-F11F-4545-A8A2-6439DBB5155D}" srcOrd="1" destOrd="0" parTransId="{8E6ABE2D-C2F9-4913-B307-3DD1DBB3615D}" sibTransId="{82CF0707-BE13-40CD-BB8E-981819C06891}"/>
    <dgm:cxn modelId="{9579ACF9-7A79-4900-B499-B465E17B4D30}" type="presOf" srcId="{55FACB22-3214-425D-AFDB-56CD0CDF4EC5}" destId="{B15488B2-CF2F-4320-8A28-5121C92398E2}" srcOrd="0" destOrd="3" presId="urn:microsoft.com/office/officeart/2005/8/layout/hList6"/>
    <dgm:cxn modelId="{E37E36BB-6F2F-4B85-AE2A-EA512A5333FA}" srcId="{896A9926-0DC9-4555-B70E-C73205A03087}" destId="{8F50C670-63A0-4951-B40B-171DFCC71320}" srcOrd="1" destOrd="0" parTransId="{78E709E3-83B2-49B5-A841-072D355C7260}" sibTransId="{37E23C32-BC21-4527-92D2-FE7913AD24C7}"/>
    <dgm:cxn modelId="{CC3BB911-C2B9-411D-916F-FCB74591038C}" type="presOf" srcId="{66340F4C-3F80-4892-AD23-7E32574FA8F4}" destId="{C059C74B-994A-45A9-9BCF-C8ED005B530B}" srcOrd="0" destOrd="2" presId="urn:microsoft.com/office/officeart/2005/8/layout/hList6"/>
    <dgm:cxn modelId="{DBB69483-9D70-4271-B34E-284899CEDA7D}" srcId="{896A9926-0DC9-4555-B70E-C73205A03087}" destId="{C498577A-AA58-4D07-B4A9-6C1BFAD33359}" srcOrd="2" destOrd="0" parTransId="{C518B487-0C80-4F2E-BEC1-8CB66057E41D}" sibTransId="{DE5705DC-16FB-4CF9-9C12-3DF7EEBBEC27}"/>
    <dgm:cxn modelId="{E313A7F2-B5E7-4A0A-A395-016B2A83F6E9}" type="presOf" srcId="{C890ABBC-5C18-4E31-A8E6-7D8A458B54F7}" destId="{B15488B2-CF2F-4320-8A28-5121C92398E2}" srcOrd="0" destOrd="4" presId="urn:microsoft.com/office/officeart/2005/8/layout/hList6"/>
    <dgm:cxn modelId="{2142DF22-7219-4ED1-A671-B44251BA82DB}" srcId="{8BA25613-F11F-4545-A8A2-6439DBB5155D}" destId="{5F409315-763A-4399-A5A5-EF276464E919}" srcOrd="1" destOrd="0" parTransId="{A0587723-9855-426D-8E6F-5E126BB73E78}" sibTransId="{671ADF6E-2D2F-4E05-9614-FB9C104FE649}"/>
    <dgm:cxn modelId="{9505DE82-11E6-49DD-B7A6-CD95B5E07D71}" srcId="{8BA25613-F11F-4545-A8A2-6439DBB5155D}" destId="{55FACB22-3214-425D-AFDB-56CD0CDF4EC5}" srcOrd="2" destOrd="0" parTransId="{742C6E3B-1CE7-4F8A-AAF2-271056954369}" sibTransId="{FF2A6861-62B9-4CB1-89A9-081BAE9B66F8}"/>
    <dgm:cxn modelId="{04E0C394-4255-4D59-8E1B-E7B3DCC874C4}" srcId="{68ADBA83-EC27-4B28-89CE-60228BDF1C8F}" destId="{4000A8A2-DDDB-4751-BC47-3EAA353A1216}" srcOrd="2" destOrd="0" parTransId="{7EF400EA-C562-4A60-8245-992A4A44F59D}" sibTransId="{BB8CEB97-E5C2-47B6-AAD7-B70FA5A835DB}"/>
    <dgm:cxn modelId="{E670EE87-4468-4AA9-8E5E-3CB0A7FE54BC}" srcId="{68ADBA83-EC27-4B28-89CE-60228BDF1C8F}" destId="{66340F4C-3F80-4892-AD23-7E32574FA8F4}" srcOrd="1" destOrd="0" parTransId="{16911308-149D-40CF-861A-56F292FAD87D}" sibTransId="{2897BBE6-F9F7-4BBC-83AD-49324EA52C66}"/>
    <dgm:cxn modelId="{5ED7B26B-42CC-41BF-AC5D-6D48638CB2D6}" type="presOf" srcId="{7BE3439D-E7B5-44E4-9D07-2682692D4D9E}" destId="{3A2BB5EB-B1E7-4E54-8C02-9B95D7FA4A32}" srcOrd="0" destOrd="0" presId="urn:microsoft.com/office/officeart/2005/8/layout/hList6"/>
    <dgm:cxn modelId="{5E48897C-7D7F-4AE3-B548-FF2406500562}" type="presOf" srcId="{C498577A-AA58-4D07-B4A9-6C1BFAD33359}" destId="{953F3EA3-45AB-464E-9879-FA554B1F9C73}" srcOrd="0" destOrd="3" presId="urn:microsoft.com/office/officeart/2005/8/layout/hList6"/>
    <dgm:cxn modelId="{AC756442-1CD2-4451-A24F-3C3B101DD55A}" type="presOf" srcId="{8BA25613-F11F-4545-A8A2-6439DBB5155D}" destId="{B15488B2-CF2F-4320-8A28-5121C92398E2}" srcOrd="0" destOrd="0" presId="urn:microsoft.com/office/officeart/2005/8/layout/hList6"/>
    <dgm:cxn modelId="{6B3F80F9-CB5F-443B-BA27-DF47CACEEA52}" srcId="{7BE3439D-E7B5-44E4-9D07-2682692D4D9E}" destId="{68ADBA83-EC27-4B28-89CE-60228BDF1C8F}" srcOrd="2" destOrd="0" parTransId="{81C66F24-29DA-4597-8468-B8D78890FD13}" sibTransId="{85EFFCF3-8DCD-41F5-A6BA-9072ADA9CCA4}"/>
    <dgm:cxn modelId="{755D27CC-E371-4CF1-AC9E-D2FB55A26E61}" type="presOf" srcId="{7D3BA56F-C51D-40C3-81C8-15FB1A9A5F0D}" destId="{953F3EA3-45AB-464E-9879-FA554B1F9C73}" srcOrd="0" destOrd="1" presId="urn:microsoft.com/office/officeart/2005/8/layout/hList6"/>
    <dgm:cxn modelId="{05771D2E-1F49-4E61-AAE9-881622611B25}" type="presOf" srcId="{8F50C670-63A0-4951-B40B-171DFCC71320}" destId="{953F3EA3-45AB-464E-9879-FA554B1F9C73}" srcOrd="0" destOrd="2" presId="urn:microsoft.com/office/officeart/2005/8/layout/hList6"/>
    <dgm:cxn modelId="{49E234A5-DF18-48C0-B351-9987B1B356F1}" type="presOf" srcId="{5F409315-763A-4399-A5A5-EF276464E919}" destId="{B15488B2-CF2F-4320-8A28-5121C92398E2}" srcOrd="0" destOrd="2" presId="urn:microsoft.com/office/officeart/2005/8/layout/hList6"/>
    <dgm:cxn modelId="{9960CB7C-A3EE-425C-94A8-682225164A5F}" type="presOf" srcId="{4000A8A2-DDDB-4751-BC47-3EAA353A1216}" destId="{C059C74B-994A-45A9-9BCF-C8ED005B530B}" srcOrd="0" destOrd="3" presId="urn:microsoft.com/office/officeart/2005/8/layout/hList6"/>
    <dgm:cxn modelId="{3BF93C43-9009-41A1-A424-1AFF99C0BD4B}" srcId="{8BA25613-F11F-4545-A8A2-6439DBB5155D}" destId="{18EFA8AC-32C3-4506-B9B2-011B117E37DC}" srcOrd="0" destOrd="0" parTransId="{C184F1F7-DFF6-4090-AEDE-FCA6B449EFBD}" sibTransId="{E328FD57-E92B-4C6F-B0E4-E32A36931955}"/>
    <dgm:cxn modelId="{A88FBDCA-2C60-434F-8582-E96BC935CEA1}" type="presOf" srcId="{896A9926-0DC9-4555-B70E-C73205A03087}" destId="{953F3EA3-45AB-464E-9879-FA554B1F9C73}" srcOrd="0" destOrd="0" presId="urn:microsoft.com/office/officeart/2005/8/layout/hList6"/>
    <dgm:cxn modelId="{1F644419-CFBF-4D2D-8CF1-932EF442575E}" srcId="{8BA25613-F11F-4545-A8A2-6439DBB5155D}" destId="{C890ABBC-5C18-4E31-A8E6-7D8A458B54F7}" srcOrd="3" destOrd="0" parTransId="{BFAEAE90-718F-4B0F-9D9D-60228D9E71BF}" sibTransId="{465B52F7-8E2F-4EB0-BC89-D3196E0673B9}"/>
    <dgm:cxn modelId="{F24564C5-5E64-4063-8A15-BE0E2B4AC657}" type="presParOf" srcId="{3A2BB5EB-B1E7-4E54-8C02-9B95D7FA4A32}" destId="{953F3EA3-45AB-464E-9879-FA554B1F9C73}" srcOrd="0" destOrd="0" presId="urn:microsoft.com/office/officeart/2005/8/layout/hList6"/>
    <dgm:cxn modelId="{7EFCD683-922D-49D2-999D-4CFA4C1A43E9}" type="presParOf" srcId="{3A2BB5EB-B1E7-4E54-8C02-9B95D7FA4A32}" destId="{33ECF001-6E14-48EF-A6C0-673236298D73}" srcOrd="1" destOrd="0" presId="urn:microsoft.com/office/officeart/2005/8/layout/hList6"/>
    <dgm:cxn modelId="{92DF9608-C5EF-4089-A316-04F967EA61CE}" type="presParOf" srcId="{3A2BB5EB-B1E7-4E54-8C02-9B95D7FA4A32}" destId="{B15488B2-CF2F-4320-8A28-5121C92398E2}" srcOrd="2" destOrd="0" presId="urn:microsoft.com/office/officeart/2005/8/layout/hList6"/>
    <dgm:cxn modelId="{51E91E22-0CF9-4CB7-904F-86B6A64DEC4A}" type="presParOf" srcId="{3A2BB5EB-B1E7-4E54-8C02-9B95D7FA4A32}" destId="{5D8BC481-6626-4723-B444-EEF55CA593D1}" srcOrd="3" destOrd="0" presId="urn:microsoft.com/office/officeart/2005/8/layout/hList6"/>
    <dgm:cxn modelId="{E7DB460D-0B3F-4D66-A09D-7AB9A0ED4F54}" type="presParOf" srcId="{3A2BB5EB-B1E7-4E54-8C02-9B95D7FA4A32}" destId="{C059C74B-994A-45A9-9BCF-C8ED005B530B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9D07677-E765-44A6-9CEA-42D9ABBBE867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E9944E6A-BC43-4FC2-A1F7-EDDEF80E1507}">
      <dgm:prSet phldrT="[Text]"/>
      <dgm:spPr/>
      <dgm:t>
        <a:bodyPr/>
        <a:lstStyle/>
        <a:p>
          <a:r>
            <a:rPr lang="de-DE" dirty="0"/>
            <a:t>Datenbank einlesen</a:t>
          </a:r>
        </a:p>
      </dgm:t>
    </dgm:pt>
    <dgm:pt modelId="{4D7E60CD-07CD-47B9-99E3-F20333A9364A}" type="parTrans" cxnId="{647AF97E-190B-4372-A6AE-47A3B5B9C12C}">
      <dgm:prSet/>
      <dgm:spPr/>
      <dgm:t>
        <a:bodyPr/>
        <a:lstStyle/>
        <a:p>
          <a:endParaRPr lang="de-DE"/>
        </a:p>
      </dgm:t>
    </dgm:pt>
    <dgm:pt modelId="{08A4BF30-054C-4EDC-86FB-FC03E55B505E}" type="sibTrans" cxnId="{647AF97E-190B-4372-A6AE-47A3B5B9C12C}">
      <dgm:prSet/>
      <dgm:spPr/>
      <dgm:t>
        <a:bodyPr/>
        <a:lstStyle/>
        <a:p>
          <a:endParaRPr lang="de-DE"/>
        </a:p>
      </dgm:t>
    </dgm:pt>
    <dgm:pt modelId="{ABD59E34-0B4C-4F23-845D-FF01E230EAEC}">
      <dgm:prSet phldrT="[Text]" custT="1"/>
      <dgm:spPr/>
      <dgm:t>
        <a:bodyPr/>
        <a:lstStyle/>
        <a:p>
          <a:r>
            <a:rPr lang="de-DE" sz="1200" dirty="0"/>
            <a:t>Netzhardware</a:t>
          </a:r>
        </a:p>
      </dgm:t>
    </dgm:pt>
    <dgm:pt modelId="{71B55B4C-2B88-4903-B869-B4773A2E37DA}" type="parTrans" cxnId="{054A9BA3-EF61-4DAE-9D4C-6F615D24D3D7}">
      <dgm:prSet/>
      <dgm:spPr/>
      <dgm:t>
        <a:bodyPr/>
        <a:lstStyle/>
        <a:p>
          <a:endParaRPr lang="de-DE"/>
        </a:p>
      </dgm:t>
    </dgm:pt>
    <dgm:pt modelId="{9E0566D9-E14B-4CB6-BE14-B6896E0D879B}" type="sibTrans" cxnId="{054A9BA3-EF61-4DAE-9D4C-6F615D24D3D7}">
      <dgm:prSet/>
      <dgm:spPr/>
      <dgm:t>
        <a:bodyPr/>
        <a:lstStyle/>
        <a:p>
          <a:endParaRPr lang="de-DE"/>
        </a:p>
      </dgm:t>
    </dgm:pt>
    <dgm:pt modelId="{40A1A58A-C9A4-490B-A34E-C306CAF086F9}">
      <dgm:prSet phldrT="[Text]"/>
      <dgm:spPr/>
      <dgm:t>
        <a:bodyPr/>
        <a:lstStyle/>
        <a:p>
          <a:r>
            <a:rPr lang="de-DE" dirty="0"/>
            <a:t>Routing-Entscheidungen treffen</a:t>
          </a:r>
        </a:p>
      </dgm:t>
    </dgm:pt>
    <dgm:pt modelId="{061DEBF9-CD1D-4CDF-8364-0B4F7522A91A}" type="parTrans" cxnId="{D72668CC-B888-4977-A034-AAE55F47B612}">
      <dgm:prSet/>
      <dgm:spPr/>
      <dgm:t>
        <a:bodyPr/>
        <a:lstStyle/>
        <a:p>
          <a:endParaRPr lang="de-DE"/>
        </a:p>
      </dgm:t>
    </dgm:pt>
    <dgm:pt modelId="{90905A8D-CB1D-41CC-B10E-292765E6D88D}" type="sibTrans" cxnId="{D72668CC-B888-4977-A034-AAE55F47B612}">
      <dgm:prSet/>
      <dgm:spPr/>
      <dgm:t>
        <a:bodyPr/>
        <a:lstStyle/>
        <a:p>
          <a:endParaRPr lang="de-DE"/>
        </a:p>
      </dgm:t>
    </dgm:pt>
    <dgm:pt modelId="{17DDA554-50C5-45CD-80EE-129A7A9F450D}">
      <dgm:prSet phldrT="[Text]" custT="1"/>
      <dgm:spPr/>
      <dgm:t>
        <a:bodyPr/>
        <a:lstStyle/>
        <a:p>
          <a:r>
            <a:rPr lang="de-DE" sz="1200" dirty="0"/>
            <a:t>Je Zeitabschnitt</a:t>
          </a:r>
        </a:p>
      </dgm:t>
    </dgm:pt>
    <dgm:pt modelId="{6EE99538-9028-4217-9042-81008B03B525}" type="parTrans" cxnId="{CC211884-0C7C-428D-A915-D9552AD700EB}">
      <dgm:prSet/>
      <dgm:spPr/>
      <dgm:t>
        <a:bodyPr/>
        <a:lstStyle/>
        <a:p>
          <a:endParaRPr lang="de-DE"/>
        </a:p>
      </dgm:t>
    </dgm:pt>
    <dgm:pt modelId="{5254F285-16D7-4CBF-A74E-08A198E45991}" type="sibTrans" cxnId="{CC211884-0C7C-428D-A915-D9552AD700EB}">
      <dgm:prSet/>
      <dgm:spPr/>
      <dgm:t>
        <a:bodyPr/>
        <a:lstStyle/>
        <a:p>
          <a:endParaRPr lang="de-DE"/>
        </a:p>
      </dgm:t>
    </dgm:pt>
    <dgm:pt modelId="{65A433FA-FF2D-4624-BA4A-A9A18E992C8B}">
      <dgm:prSet phldrT="[Text]"/>
      <dgm:spPr/>
      <dgm:t>
        <a:bodyPr/>
        <a:lstStyle/>
        <a:p>
          <a:r>
            <a:rPr lang="de-DE" dirty="0"/>
            <a:t>Energieverbrauch berechnen</a:t>
          </a:r>
        </a:p>
      </dgm:t>
    </dgm:pt>
    <dgm:pt modelId="{315D4BBC-DFC7-49DD-914A-895A8FFEBD8E}" type="parTrans" cxnId="{E54E69E5-DC74-453F-876F-326F2E89A8E8}">
      <dgm:prSet/>
      <dgm:spPr/>
      <dgm:t>
        <a:bodyPr/>
        <a:lstStyle/>
        <a:p>
          <a:endParaRPr lang="de-DE"/>
        </a:p>
      </dgm:t>
    </dgm:pt>
    <dgm:pt modelId="{BFB09B81-29D8-4B5C-B692-65F0660E780A}" type="sibTrans" cxnId="{E54E69E5-DC74-453F-876F-326F2E89A8E8}">
      <dgm:prSet/>
      <dgm:spPr/>
      <dgm:t>
        <a:bodyPr/>
        <a:lstStyle/>
        <a:p>
          <a:endParaRPr lang="de-DE"/>
        </a:p>
      </dgm:t>
    </dgm:pt>
    <dgm:pt modelId="{CFF8663C-A6CA-4A77-B950-EBE14F436672}">
      <dgm:prSet phldrT="[Text]" custT="1"/>
      <dgm:spPr/>
      <dgm:t>
        <a:bodyPr/>
        <a:lstStyle/>
        <a:p>
          <a:r>
            <a:rPr lang="de-DE" sz="1200" dirty="0"/>
            <a:t>Abhängig von Auslastung, An-/Aus-Status, Streckendistanz, Energiesparmodi</a:t>
          </a:r>
        </a:p>
      </dgm:t>
    </dgm:pt>
    <dgm:pt modelId="{1417FE6F-14FF-43CE-A116-A0D267D28220}" type="parTrans" cxnId="{1DC91692-EF8E-4142-A8E4-CBCC754951A6}">
      <dgm:prSet/>
      <dgm:spPr/>
      <dgm:t>
        <a:bodyPr/>
        <a:lstStyle/>
        <a:p>
          <a:endParaRPr lang="de-DE"/>
        </a:p>
      </dgm:t>
    </dgm:pt>
    <dgm:pt modelId="{0F358761-5994-49A2-95B7-FE7A9CE2AE23}" type="sibTrans" cxnId="{1DC91692-EF8E-4142-A8E4-CBCC754951A6}">
      <dgm:prSet/>
      <dgm:spPr/>
      <dgm:t>
        <a:bodyPr/>
        <a:lstStyle/>
        <a:p>
          <a:endParaRPr lang="de-DE"/>
        </a:p>
      </dgm:t>
    </dgm:pt>
    <dgm:pt modelId="{CADBBD15-42E1-463C-A5D2-C81C628E630F}">
      <dgm:prSet phldrT="[Text]"/>
      <dgm:spPr/>
      <dgm:t>
        <a:bodyPr/>
        <a:lstStyle/>
        <a:p>
          <a:r>
            <a:rPr lang="de-DE" dirty="0"/>
            <a:t>Ergebnis Diagramm und Tabellenwerte</a:t>
          </a:r>
        </a:p>
      </dgm:t>
    </dgm:pt>
    <dgm:pt modelId="{3B272A99-9E59-4C20-8778-4F47B2205932}" type="parTrans" cxnId="{2C2EA8C0-EC83-4CCB-9FF3-256768900328}">
      <dgm:prSet/>
      <dgm:spPr/>
      <dgm:t>
        <a:bodyPr/>
        <a:lstStyle/>
        <a:p>
          <a:endParaRPr lang="de-DE"/>
        </a:p>
      </dgm:t>
    </dgm:pt>
    <dgm:pt modelId="{85C2E325-BC5A-44DB-8188-DAD6895BECFD}" type="sibTrans" cxnId="{2C2EA8C0-EC83-4CCB-9FF3-256768900328}">
      <dgm:prSet/>
      <dgm:spPr/>
      <dgm:t>
        <a:bodyPr/>
        <a:lstStyle/>
        <a:p>
          <a:endParaRPr lang="de-DE"/>
        </a:p>
      </dgm:t>
    </dgm:pt>
    <dgm:pt modelId="{087BA9D0-53E6-45C4-9374-5F38825E3CCA}">
      <dgm:prSet phldrT="[Text]"/>
      <dgm:spPr/>
      <dgm:t>
        <a:bodyPr/>
        <a:lstStyle/>
        <a:p>
          <a:endParaRPr lang="de-DE" dirty="0"/>
        </a:p>
      </dgm:t>
    </dgm:pt>
    <dgm:pt modelId="{0CE8D90D-4BBD-4B33-9A2E-6FACFE32CAFD}" type="parTrans" cxnId="{6A22E153-F626-42C5-85EB-EE6E69FFD350}">
      <dgm:prSet/>
      <dgm:spPr/>
      <dgm:t>
        <a:bodyPr/>
        <a:lstStyle/>
        <a:p>
          <a:endParaRPr lang="de-DE"/>
        </a:p>
      </dgm:t>
    </dgm:pt>
    <dgm:pt modelId="{2716FE2E-FBEF-45F4-BE0B-D43058F7CAEB}" type="sibTrans" cxnId="{6A22E153-F626-42C5-85EB-EE6E69FFD350}">
      <dgm:prSet/>
      <dgm:spPr/>
      <dgm:t>
        <a:bodyPr/>
        <a:lstStyle/>
        <a:p>
          <a:endParaRPr lang="de-DE"/>
        </a:p>
      </dgm:t>
    </dgm:pt>
    <dgm:pt modelId="{32E9D93A-C097-45D4-9478-90F02E1D012C}">
      <dgm:prSet phldrT="[Text]" custT="1"/>
      <dgm:spPr/>
      <dgm:t>
        <a:bodyPr/>
        <a:lstStyle/>
        <a:p>
          <a:r>
            <a:rPr lang="de-DE" sz="1200" dirty="0"/>
            <a:t>Verbindungen</a:t>
          </a:r>
        </a:p>
      </dgm:t>
    </dgm:pt>
    <dgm:pt modelId="{4DC23170-1A6D-4D87-8C9A-044CBABA4DF7}" type="parTrans" cxnId="{8DD9B6C2-259E-42B4-B15F-5816F3CCC7A7}">
      <dgm:prSet/>
      <dgm:spPr/>
      <dgm:t>
        <a:bodyPr/>
        <a:lstStyle/>
        <a:p>
          <a:endParaRPr lang="de-DE"/>
        </a:p>
      </dgm:t>
    </dgm:pt>
    <dgm:pt modelId="{765309AB-0625-4753-8215-677F3741E21F}" type="sibTrans" cxnId="{8DD9B6C2-259E-42B4-B15F-5816F3CCC7A7}">
      <dgm:prSet/>
      <dgm:spPr/>
      <dgm:t>
        <a:bodyPr/>
        <a:lstStyle/>
        <a:p>
          <a:endParaRPr lang="de-DE"/>
        </a:p>
      </dgm:t>
    </dgm:pt>
    <dgm:pt modelId="{DE62FE2E-3C3E-46EB-A223-E0ED322DD9BF}">
      <dgm:prSet phldrT="[Text]" custT="1"/>
      <dgm:spPr/>
      <dgm:t>
        <a:bodyPr/>
        <a:lstStyle/>
        <a:p>
          <a:r>
            <a:rPr lang="de-DE" sz="1200" dirty="0"/>
            <a:t>Last-Quellen &amp; -Senken</a:t>
          </a:r>
        </a:p>
      </dgm:t>
    </dgm:pt>
    <dgm:pt modelId="{C57FE90F-D2CD-45DB-A671-7EDA2B995F30}" type="parTrans" cxnId="{314C0B98-639E-46D9-B1AA-3F095D15BB3E}">
      <dgm:prSet/>
      <dgm:spPr/>
      <dgm:t>
        <a:bodyPr/>
        <a:lstStyle/>
        <a:p>
          <a:endParaRPr lang="de-DE"/>
        </a:p>
      </dgm:t>
    </dgm:pt>
    <dgm:pt modelId="{E938F953-0C57-489B-B6CC-CA028D42C721}" type="sibTrans" cxnId="{314C0B98-639E-46D9-B1AA-3F095D15BB3E}">
      <dgm:prSet/>
      <dgm:spPr/>
      <dgm:t>
        <a:bodyPr/>
        <a:lstStyle/>
        <a:p>
          <a:endParaRPr lang="de-DE"/>
        </a:p>
      </dgm:t>
    </dgm:pt>
    <dgm:pt modelId="{65EDFBFF-D67D-4BC2-BA36-BC70A65E1082}">
      <dgm:prSet phldrT="[Text]" custT="1"/>
      <dgm:spPr/>
      <dgm:t>
        <a:bodyPr/>
        <a:lstStyle/>
        <a:p>
          <a:r>
            <a:rPr lang="de-DE" sz="1200" dirty="0"/>
            <a:t>Je Netzlast</a:t>
          </a:r>
        </a:p>
      </dgm:t>
    </dgm:pt>
    <dgm:pt modelId="{426D6414-37EA-40D6-B81B-E26487BE92C0}" type="parTrans" cxnId="{111A28FD-01CB-4D6B-A418-74B7BD6AE5D7}">
      <dgm:prSet/>
      <dgm:spPr/>
      <dgm:t>
        <a:bodyPr/>
        <a:lstStyle/>
        <a:p>
          <a:endParaRPr lang="de-DE"/>
        </a:p>
      </dgm:t>
    </dgm:pt>
    <dgm:pt modelId="{99C8482A-2D1F-4E72-B45C-4BBD8EB813B4}" type="sibTrans" cxnId="{111A28FD-01CB-4D6B-A418-74B7BD6AE5D7}">
      <dgm:prSet/>
      <dgm:spPr/>
      <dgm:t>
        <a:bodyPr/>
        <a:lstStyle/>
        <a:p>
          <a:endParaRPr lang="de-DE"/>
        </a:p>
      </dgm:t>
    </dgm:pt>
    <dgm:pt modelId="{841009B8-A49B-4712-A8BA-DC276356938E}">
      <dgm:prSet phldrT="[Text]" custT="1"/>
      <dgm:spPr/>
      <dgm:t>
        <a:bodyPr/>
        <a:lstStyle/>
        <a:p>
          <a:r>
            <a:rPr lang="de-DE" sz="1200" dirty="0" err="1"/>
            <a:t>Greedy</a:t>
          </a:r>
          <a:r>
            <a:rPr lang="de-DE" sz="1200" dirty="0"/>
            <a:t> Algorithmus</a:t>
          </a:r>
        </a:p>
      </dgm:t>
    </dgm:pt>
    <dgm:pt modelId="{B17A3912-316A-4CA5-888E-98A473B32035}" type="parTrans" cxnId="{10E3210D-8D73-44CB-9B8C-78C40B4CE7B8}">
      <dgm:prSet/>
      <dgm:spPr/>
      <dgm:t>
        <a:bodyPr/>
        <a:lstStyle/>
        <a:p>
          <a:endParaRPr lang="de-DE"/>
        </a:p>
      </dgm:t>
    </dgm:pt>
    <dgm:pt modelId="{3786D737-CC4E-4525-8917-235868F2919F}" type="sibTrans" cxnId="{10E3210D-8D73-44CB-9B8C-78C40B4CE7B8}">
      <dgm:prSet/>
      <dgm:spPr/>
      <dgm:t>
        <a:bodyPr/>
        <a:lstStyle/>
        <a:p>
          <a:endParaRPr lang="de-DE"/>
        </a:p>
      </dgm:t>
    </dgm:pt>
    <dgm:pt modelId="{B556C330-5C3E-4796-A193-EE7C8471906A}" type="pres">
      <dgm:prSet presAssocID="{E9D07677-E765-44A6-9CEA-42D9ABBBE867}" presName="rootnode" presStyleCnt="0">
        <dgm:presLayoutVars>
          <dgm:chMax/>
          <dgm:chPref/>
          <dgm:dir/>
          <dgm:animLvl val="lvl"/>
        </dgm:presLayoutVars>
      </dgm:prSet>
      <dgm:spPr/>
    </dgm:pt>
    <dgm:pt modelId="{59EBB411-DF46-42A9-9ECD-6C8B3FDA5355}" type="pres">
      <dgm:prSet presAssocID="{E9944E6A-BC43-4FC2-A1F7-EDDEF80E1507}" presName="composite" presStyleCnt="0"/>
      <dgm:spPr/>
    </dgm:pt>
    <dgm:pt modelId="{E2998FB7-564B-431E-A3FB-194467F1313E}" type="pres">
      <dgm:prSet presAssocID="{E9944E6A-BC43-4FC2-A1F7-EDDEF80E1507}" presName="bentUpArrow1" presStyleLbl="alignImgPlace1" presStyleIdx="0" presStyleCnt="3"/>
      <dgm:spPr/>
    </dgm:pt>
    <dgm:pt modelId="{D7A0B080-3084-4689-9E59-F31373C83C36}" type="pres">
      <dgm:prSet presAssocID="{E9944E6A-BC43-4FC2-A1F7-EDDEF80E1507}" presName="ParentText" presStyleLbl="node1" presStyleIdx="0" presStyleCnt="4" custScaleY="78508">
        <dgm:presLayoutVars>
          <dgm:chMax val="1"/>
          <dgm:chPref val="1"/>
          <dgm:bulletEnabled val="1"/>
        </dgm:presLayoutVars>
      </dgm:prSet>
      <dgm:spPr/>
    </dgm:pt>
    <dgm:pt modelId="{6511CEB0-19F1-470C-8F67-B7DEDE41B465}" type="pres">
      <dgm:prSet presAssocID="{E9944E6A-BC43-4FC2-A1F7-EDDEF80E1507}" presName="ChildText" presStyleLbl="revTx" presStyleIdx="0" presStyleCnt="4" custScaleX="121586" custLinFactNeighborX="10453" custLinFactNeighborY="-188">
        <dgm:presLayoutVars>
          <dgm:chMax val="0"/>
          <dgm:chPref val="0"/>
          <dgm:bulletEnabled val="1"/>
        </dgm:presLayoutVars>
      </dgm:prSet>
      <dgm:spPr/>
    </dgm:pt>
    <dgm:pt modelId="{E6052AC5-FC8B-4829-8CAD-692D407EB852}" type="pres">
      <dgm:prSet presAssocID="{08A4BF30-054C-4EDC-86FB-FC03E55B505E}" presName="sibTrans" presStyleCnt="0"/>
      <dgm:spPr/>
    </dgm:pt>
    <dgm:pt modelId="{CF869F27-3642-46A6-9384-2AF8A927A791}" type="pres">
      <dgm:prSet presAssocID="{40A1A58A-C9A4-490B-A34E-C306CAF086F9}" presName="composite" presStyleCnt="0"/>
      <dgm:spPr/>
    </dgm:pt>
    <dgm:pt modelId="{E6CEC19E-4A8F-4B76-9AF8-767C363F9107}" type="pres">
      <dgm:prSet presAssocID="{40A1A58A-C9A4-490B-A34E-C306CAF086F9}" presName="bentUpArrow1" presStyleLbl="alignImgPlace1" presStyleIdx="1" presStyleCnt="3"/>
      <dgm:spPr/>
    </dgm:pt>
    <dgm:pt modelId="{90389396-AF9A-458C-BE2A-65DF6104C498}" type="pres">
      <dgm:prSet presAssocID="{40A1A58A-C9A4-490B-A34E-C306CAF086F9}" presName="ParentText" presStyleLbl="node1" presStyleIdx="1" presStyleCnt="4" custScaleY="77573">
        <dgm:presLayoutVars>
          <dgm:chMax val="1"/>
          <dgm:chPref val="1"/>
          <dgm:bulletEnabled val="1"/>
        </dgm:presLayoutVars>
      </dgm:prSet>
      <dgm:spPr/>
    </dgm:pt>
    <dgm:pt modelId="{E1665EF9-8E06-4B5A-8A58-BA78525B9F5F}" type="pres">
      <dgm:prSet presAssocID="{40A1A58A-C9A4-490B-A34E-C306CAF086F9}" presName="ChildText" presStyleLbl="revTx" presStyleIdx="1" presStyleCnt="4" custScaleX="123549" custLinFactNeighborX="14932" custLinFactNeighborY="960">
        <dgm:presLayoutVars>
          <dgm:chMax val="0"/>
          <dgm:chPref val="0"/>
          <dgm:bulletEnabled val="1"/>
        </dgm:presLayoutVars>
      </dgm:prSet>
      <dgm:spPr/>
    </dgm:pt>
    <dgm:pt modelId="{3DC00E8B-4117-485A-85DB-010336E28BEA}" type="pres">
      <dgm:prSet presAssocID="{90905A8D-CB1D-41CC-B10E-292765E6D88D}" presName="sibTrans" presStyleCnt="0"/>
      <dgm:spPr/>
    </dgm:pt>
    <dgm:pt modelId="{513AE072-0295-4E87-8C63-E4A54F66F4DE}" type="pres">
      <dgm:prSet presAssocID="{65A433FA-FF2D-4624-BA4A-A9A18E992C8B}" presName="composite" presStyleCnt="0"/>
      <dgm:spPr/>
    </dgm:pt>
    <dgm:pt modelId="{E3927F14-B751-456F-97B8-E60AAC1B4BB3}" type="pres">
      <dgm:prSet presAssocID="{65A433FA-FF2D-4624-BA4A-A9A18E992C8B}" presName="bentUpArrow1" presStyleLbl="alignImgPlace1" presStyleIdx="2" presStyleCnt="3"/>
      <dgm:spPr/>
    </dgm:pt>
    <dgm:pt modelId="{40D09A58-EBC7-4692-A900-05F58F2B6347}" type="pres">
      <dgm:prSet presAssocID="{65A433FA-FF2D-4624-BA4A-A9A18E992C8B}" presName="ParentText" presStyleLbl="node1" presStyleIdx="2" presStyleCnt="4" custScaleY="71859">
        <dgm:presLayoutVars>
          <dgm:chMax val="1"/>
          <dgm:chPref val="1"/>
          <dgm:bulletEnabled val="1"/>
        </dgm:presLayoutVars>
      </dgm:prSet>
      <dgm:spPr/>
    </dgm:pt>
    <dgm:pt modelId="{B612DAF9-DD2B-4DAC-A70C-70349130E5DC}" type="pres">
      <dgm:prSet presAssocID="{65A433FA-FF2D-4624-BA4A-A9A18E992C8B}" presName="ChildText" presStyleLbl="revTx" presStyleIdx="2" presStyleCnt="4" custScaleX="141938" custLinFactNeighborX="21614" custLinFactNeighborY="960">
        <dgm:presLayoutVars>
          <dgm:chMax val="0"/>
          <dgm:chPref val="0"/>
          <dgm:bulletEnabled val="1"/>
        </dgm:presLayoutVars>
      </dgm:prSet>
      <dgm:spPr/>
    </dgm:pt>
    <dgm:pt modelId="{3C0066E5-26C6-4966-B6FA-4A12ADEE6E2E}" type="pres">
      <dgm:prSet presAssocID="{BFB09B81-29D8-4B5C-B692-65F0660E780A}" presName="sibTrans" presStyleCnt="0"/>
      <dgm:spPr/>
    </dgm:pt>
    <dgm:pt modelId="{175DB907-B634-48A7-917C-4AB165F8A51C}" type="pres">
      <dgm:prSet presAssocID="{CADBBD15-42E1-463C-A5D2-C81C628E630F}" presName="composite" presStyleCnt="0"/>
      <dgm:spPr/>
    </dgm:pt>
    <dgm:pt modelId="{9A136C51-BB0E-481B-AF0E-7DE8E2A10233}" type="pres">
      <dgm:prSet presAssocID="{CADBBD15-42E1-463C-A5D2-C81C628E630F}" presName="ParentText" presStyleLbl="node1" presStyleIdx="3" presStyleCnt="4" custScaleY="62695">
        <dgm:presLayoutVars>
          <dgm:chMax val="1"/>
          <dgm:chPref val="1"/>
          <dgm:bulletEnabled val="1"/>
        </dgm:presLayoutVars>
      </dgm:prSet>
      <dgm:spPr/>
    </dgm:pt>
    <dgm:pt modelId="{37D988F3-8511-4D92-872E-C1D3371A86B0}" type="pres">
      <dgm:prSet presAssocID="{CADBBD15-42E1-463C-A5D2-C81C628E630F}" presName="FinalChildText" presStyleLbl="revTx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E54E69E5-DC74-453F-876F-326F2E89A8E8}" srcId="{E9D07677-E765-44A6-9CEA-42D9ABBBE867}" destId="{65A433FA-FF2D-4624-BA4A-A9A18E992C8B}" srcOrd="2" destOrd="0" parTransId="{315D4BBC-DFC7-49DD-914A-895A8FFEBD8E}" sibTransId="{BFB09B81-29D8-4B5C-B692-65F0660E780A}"/>
    <dgm:cxn modelId="{A92BACFB-53CA-4836-A919-D31DA01D7AA3}" type="presOf" srcId="{65EDFBFF-D67D-4BC2-BA36-BC70A65E1082}" destId="{E1665EF9-8E06-4B5A-8A58-BA78525B9F5F}" srcOrd="0" destOrd="1" presId="urn:microsoft.com/office/officeart/2005/8/layout/StepDownProcess"/>
    <dgm:cxn modelId="{CC211884-0C7C-428D-A915-D9552AD700EB}" srcId="{40A1A58A-C9A4-490B-A34E-C306CAF086F9}" destId="{17DDA554-50C5-45CD-80EE-129A7A9F450D}" srcOrd="0" destOrd="0" parTransId="{6EE99538-9028-4217-9042-81008B03B525}" sibTransId="{5254F285-16D7-4CBF-A74E-08A198E45991}"/>
    <dgm:cxn modelId="{546C2217-23DA-4785-906C-38A8096DD3EE}" type="presOf" srcId="{CADBBD15-42E1-463C-A5D2-C81C628E630F}" destId="{9A136C51-BB0E-481B-AF0E-7DE8E2A10233}" srcOrd="0" destOrd="0" presId="urn:microsoft.com/office/officeart/2005/8/layout/StepDownProcess"/>
    <dgm:cxn modelId="{BE3B0E90-13C1-4E7E-9D20-A7962E7BDDA0}" type="presOf" srcId="{32E9D93A-C097-45D4-9478-90F02E1D012C}" destId="{6511CEB0-19F1-470C-8F67-B7DEDE41B465}" srcOrd="0" destOrd="1" presId="urn:microsoft.com/office/officeart/2005/8/layout/StepDownProcess"/>
    <dgm:cxn modelId="{D72668CC-B888-4977-A034-AAE55F47B612}" srcId="{E9D07677-E765-44A6-9CEA-42D9ABBBE867}" destId="{40A1A58A-C9A4-490B-A34E-C306CAF086F9}" srcOrd="1" destOrd="0" parTransId="{061DEBF9-CD1D-4CDF-8364-0B4F7522A91A}" sibTransId="{90905A8D-CB1D-41CC-B10E-292765E6D88D}"/>
    <dgm:cxn modelId="{314C0B98-639E-46D9-B1AA-3F095D15BB3E}" srcId="{E9944E6A-BC43-4FC2-A1F7-EDDEF80E1507}" destId="{DE62FE2E-3C3E-46EB-A223-E0ED322DD9BF}" srcOrd="2" destOrd="0" parTransId="{C57FE90F-D2CD-45DB-A671-7EDA2B995F30}" sibTransId="{E938F953-0C57-489B-B6CC-CA028D42C721}"/>
    <dgm:cxn modelId="{2ECF93A3-CE20-4DD2-B4D7-C69F14340884}" type="presOf" srcId="{E9D07677-E765-44A6-9CEA-42D9ABBBE867}" destId="{B556C330-5C3E-4796-A193-EE7C8471906A}" srcOrd="0" destOrd="0" presId="urn:microsoft.com/office/officeart/2005/8/layout/StepDownProcess"/>
    <dgm:cxn modelId="{2C2EA8C0-EC83-4CCB-9FF3-256768900328}" srcId="{E9D07677-E765-44A6-9CEA-42D9ABBBE867}" destId="{CADBBD15-42E1-463C-A5D2-C81C628E630F}" srcOrd="3" destOrd="0" parTransId="{3B272A99-9E59-4C20-8778-4F47B2205932}" sibTransId="{85C2E325-BC5A-44DB-8188-DAD6895BECFD}"/>
    <dgm:cxn modelId="{647AF97E-190B-4372-A6AE-47A3B5B9C12C}" srcId="{E9D07677-E765-44A6-9CEA-42D9ABBBE867}" destId="{E9944E6A-BC43-4FC2-A1F7-EDDEF80E1507}" srcOrd="0" destOrd="0" parTransId="{4D7E60CD-07CD-47B9-99E3-F20333A9364A}" sibTransId="{08A4BF30-054C-4EDC-86FB-FC03E55B505E}"/>
    <dgm:cxn modelId="{B602A1D2-5D8A-450C-A8E2-008448F71155}" type="presOf" srcId="{DE62FE2E-3C3E-46EB-A223-E0ED322DD9BF}" destId="{6511CEB0-19F1-470C-8F67-B7DEDE41B465}" srcOrd="0" destOrd="2" presId="urn:microsoft.com/office/officeart/2005/8/layout/StepDownProcess"/>
    <dgm:cxn modelId="{25EA6024-2548-4D95-BA9A-F6A325594575}" type="presOf" srcId="{CFF8663C-A6CA-4A77-B950-EBE14F436672}" destId="{B612DAF9-DD2B-4DAC-A70C-70349130E5DC}" srcOrd="0" destOrd="0" presId="urn:microsoft.com/office/officeart/2005/8/layout/StepDownProcess"/>
    <dgm:cxn modelId="{76649922-F997-4291-A93C-42246028BFC7}" type="presOf" srcId="{40A1A58A-C9A4-490B-A34E-C306CAF086F9}" destId="{90389396-AF9A-458C-BE2A-65DF6104C498}" srcOrd="0" destOrd="0" presId="urn:microsoft.com/office/officeart/2005/8/layout/StepDownProcess"/>
    <dgm:cxn modelId="{8E05EDD1-B90C-4470-A11E-F0291DD47F33}" type="presOf" srcId="{65A433FA-FF2D-4624-BA4A-A9A18E992C8B}" destId="{40D09A58-EBC7-4692-A900-05F58F2B6347}" srcOrd="0" destOrd="0" presId="urn:microsoft.com/office/officeart/2005/8/layout/StepDownProcess"/>
    <dgm:cxn modelId="{BC410126-C0C0-4809-9E1F-B4601A654F66}" type="presOf" srcId="{E9944E6A-BC43-4FC2-A1F7-EDDEF80E1507}" destId="{D7A0B080-3084-4689-9E59-F31373C83C36}" srcOrd="0" destOrd="0" presId="urn:microsoft.com/office/officeart/2005/8/layout/StepDownProcess"/>
    <dgm:cxn modelId="{1DC91692-EF8E-4142-A8E4-CBCC754951A6}" srcId="{65A433FA-FF2D-4624-BA4A-A9A18E992C8B}" destId="{CFF8663C-A6CA-4A77-B950-EBE14F436672}" srcOrd="0" destOrd="0" parTransId="{1417FE6F-14FF-43CE-A116-A0D267D28220}" sibTransId="{0F358761-5994-49A2-95B7-FE7A9CE2AE23}"/>
    <dgm:cxn modelId="{6B520E1E-4A3B-4D7A-B0E9-769327260332}" type="presOf" srcId="{087BA9D0-53E6-45C4-9374-5F38825E3CCA}" destId="{37D988F3-8511-4D92-872E-C1D3371A86B0}" srcOrd="0" destOrd="0" presId="urn:microsoft.com/office/officeart/2005/8/layout/StepDownProcess"/>
    <dgm:cxn modelId="{10E3210D-8D73-44CB-9B8C-78C40B4CE7B8}" srcId="{40A1A58A-C9A4-490B-A34E-C306CAF086F9}" destId="{841009B8-A49B-4712-A8BA-DC276356938E}" srcOrd="2" destOrd="0" parTransId="{B17A3912-316A-4CA5-888E-98A473B32035}" sibTransId="{3786D737-CC4E-4525-8917-235868F2919F}"/>
    <dgm:cxn modelId="{054A9BA3-EF61-4DAE-9D4C-6F615D24D3D7}" srcId="{E9944E6A-BC43-4FC2-A1F7-EDDEF80E1507}" destId="{ABD59E34-0B4C-4F23-845D-FF01E230EAEC}" srcOrd="0" destOrd="0" parTransId="{71B55B4C-2B88-4903-B869-B4773A2E37DA}" sibTransId="{9E0566D9-E14B-4CB6-BE14-B6896E0D879B}"/>
    <dgm:cxn modelId="{111A28FD-01CB-4D6B-A418-74B7BD6AE5D7}" srcId="{40A1A58A-C9A4-490B-A34E-C306CAF086F9}" destId="{65EDFBFF-D67D-4BC2-BA36-BC70A65E1082}" srcOrd="1" destOrd="0" parTransId="{426D6414-37EA-40D6-B81B-E26487BE92C0}" sibTransId="{99C8482A-2D1F-4E72-B45C-4BBD8EB813B4}"/>
    <dgm:cxn modelId="{6C89B15E-55FC-4B5B-9542-4C0EA1222357}" type="presOf" srcId="{17DDA554-50C5-45CD-80EE-129A7A9F450D}" destId="{E1665EF9-8E06-4B5A-8A58-BA78525B9F5F}" srcOrd="0" destOrd="0" presId="urn:microsoft.com/office/officeart/2005/8/layout/StepDownProcess"/>
    <dgm:cxn modelId="{79AC5099-6843-4D45-92F9-271A3A6A0551}" type="presOf" srcId="{841009B8-A49B-4712-A8BA-DC276356938E}" destId="{E1665EF9-8E06-4B5A-8A58-BA78525B9F5F}" srcOrd="0" destOrd="2" presId="urn:microsoft.com/office/officeart/2005/8/layout/StepDownProcess"/>
    <dgm:cxn modelId="{6A22E153-F626-42C5-85EB-EE6E69FFD350}" srcId="{CADBBD15-42E1-463C-A5D2-C81C628E630F}" destId="{087BA9D0-53E6-45C4-9374-5F38825E3CCA}" srcOrd="0" destOrd="0" parTransId="{0CE8D90D-4BBD-4B33-9A2E-6FACFE32CAFD}" sibTransId="{2716FE2E-FBEF-45F4-BE0B-D43058F7CAEB}"/>
    <dgm:cxn modelId="{4ECC7B90-E3BE-4C5A-BF37-DB1FE5A7D2CC}" type="presOf" srcId="{ABD59E34-0B4C-4F23-845D-FF01E230EAEC}" destId="{6511CEB0-19F1-470C-8F67-B7DEDE41B465}" srcOrd="0" destOrd="0" presId="urn:microsoft.com/office/officeart/2005/8/layout/StepDownProcess"/>
    <dgm:cxn modelId="{8DD9B6C2-259E-42B4-B15F-5816F3CCC7A7}" srcId="{E9944E6A-BC43-4FC2-A1F7-EDDEF80E1507}" destId="{32E9D93A-C097-45D4-9478-90F02E1D012C}" srcOrd="1" destOrd="0" parTransId="{4DC23170-1A6D-4D87-8C9A-044CBABA4DF7}" sibTransId="{765309AB-0625-4753-8215-677F3741E21F}"/>
    <dgm:cxn modelId="{CC7A9690-A7E0-410B-8483-46AFD3A40EDA}" type="presParOf" srcId="{B556C330-5C3E-4796-A193-EE7C8471906A}" destId="{59EBB411-DF46-42A9-9ECD-6C8B3FDA5355}" srcOrd="0" destOrd="0" presId="urn:microsoft.com/office/officeart/2005/8/layout/StepDownProcess"/>
    <dgm:cxn modelId="{9AF72BDF-F621-4848-BDD2-70F2C1257D2A}" type="presParOf" srcId="{59EBB411-DF46-42A9-9ECD-6C8B3FDA5355}" destId="{E2998FB7-564B-431E-A3FB-194467F1313E}" srcOrd="0" destOrd="0" presId="urn:microsoft.com/office/officeart/2005/8/layout/StepDownProcess"/>
    <dgm:cxn modelId="{53DDDDB1-7C99-4A88-A9D8-C1C57374F713}" type="presParOf" srcId="{59EBB411-DF46-42A9-9ECD-6C8B3FDA5355}" destId="{D7A0B080-3084-4689-9E59-F31373C83C36}" srcOrd="1" destOrd="0" presId="urn:microsoft.com/office/officeart/2005/8/layout/StepDownProcess"/>
    <dgm:cxn modelId="{11D31FE6-9D41-4C39-8401-60C03C300CE7}" type="presParOf" srcId="{59EBB411-DF46-42A9-9ECD-6C8B3FDA5355}" destId="{6511CEB0-19F1-470C-8F67-B7DEDE41B465}" srcOrd="2" destOrd="0" presId="urn:microsoft.com/office/officeart/2005/8/layout/StepDownProcess"/>
    <dgm:cxn modelId="{FA9B26E7-B276-465D-8EDF-5E308CB48D88}" type="presParOf" srcId="{B556C330-5C3E-4796-A193-EE7C8471906A}" destId="{E6052AC5-FC8B-4829-8CAD-692D407EB852}" srcOrd="1" destOrd="0" presId="urn:microsoft.com/office/officeart/2005/8/layout/StepDownProcess"/>
    <dgm:cxn modelId="{41CA3AC9-469D-4792-8A59-2D871458BD75}" type="presParOf" srcId="{B556C330-5C3E-4796-A193-EE7C8471906A}" destId="{CF869F27-3642-46A6-9384-2AF8A927A791}" srcOrd="2" destOrd="0" presId="urn:microsoft.com/office/officeart/2005/8/layout/StepDownProcess"/>
    <dgm:cxn modelId="{0518B23B-6835-457F-AA49-EEC4D3C46F3E}" type="presParOf" srcId="{CF869F27-3642-46A6-9384-2AF8A927A791}" destId="{E6CEC19E-4A8F-4B76-9AF8-767C363F9107}" srcOrd="0" destOrd="0" presId="urn:microsoft.com/office/officeart/2005/8/layout/StepDownProcess"/>
    <dgm:cxn modelId="{86FD436A-1B24-4F81-AEBE-EE2648DCB838}" type="presParOf" srcId="{CF869F27-3642-46A6-9384-2AF8A927A791}" destId="{90389396-AF9A-458C-BE2A-65DF6104C498}" srcOrd="1" destOrd="0" presId="urn:microsoft.com/office/officeart/2005/8/layout/StepDownProcess"/>
    <dgm:cxn modelId="{3980D23A-DBE1-4CE4-9104-3F7ADAF2EE99}" type="presParOf" srcId="{CF869F27-3642-46A6-9384-2AF8A927A791}" destId="{E1665EF9-8E06-4B5A-8A58-BA78525B9F5F}" srcOrd="2" destOrd="0" presId="urn:microsoft.com/office/officeart/2005/8/layout/StepDownProcess"/>
    <dgm:cxn modelId="{BB5B50C1-F2EF-468A-B260-63372345B549}" type="presParOf" srcId="{B556C330-5C3E-4796-A193-EE7C8471906A}" destId="{3DC00E8B-4117-485A-85DB-010336E28BEA}" srcOrd="3" destOrd="0" presId="urn:microsoft.com/office/officeart/2005/8/layout/StepDownProcess"/>
    <dgm:cxn modelId="{A393B458-6A5A-44C9-9F4D-875C6BAD61E0}" type="presParOf" srcId="{B556C330-5C3E-4796-A193-EE7C8471906A}" destId="{513AE072-0295-4E87-8C63-E4A54F66F4DE}" srcOrd="4" destOrd="0" presId="urn:microsoft.com/office/officeart/2005/8/layout/StepDownProcess"/>
    <dgm:cxn modelId="{CD0F6722-1456-48DE-BB3B-96BFD85BCC88}" type="presParOf" srcId="{513AE072-0295-4E87-8C63-E4A54F66F4DE}" destId="{E3927F14-B751-456F-97B8-E60AAC1B4BB3}" srcOrd="0" destOrd="0" presId="urn:microsoft.com/office/officeart/2005/8/layout/StepDownProcess"/>
    <dgm:cxn modelId="{6B6D5A74-E7AD-4B9F-A3B5-FEFBD3D372BF}" type="presParOf" srcId="{513AE072-0295-4E87-8C63-E4A54F66F4DE}" destId="{40D09A58-EBC7-4692-A900-05F58F2B6347}" srcOrd="1" destOrd="0" presId="urn:microsoft.com/office/officeart/2005/8/layout/StepDownProcess"/>
    <dgm:cxn modelId="{7DCB2AC0-3E24-4F71-9D5F-8FC52FC3A655}" type="presParOf" srcId="{513AE072-0295-4E87-8C63-E4A54F66F4DE}" destId="{B612DAF9-DD2B-4DAC-A70C-70349130E5DC}" srcOrd="2" destOrd="0" presId="urn:microsoft.com/office/officeart/2005/8/layout/StepDownProcess"/>
    <dgm:cxn modelId="{7BBCD8DC-7221-4D18-B08E-1BA7BD09E900}" type="presParOf" srcId="{B556C330-5C3E-4796-A193-EE7C8471906A}" destId="{3C0066E5-26C6-4966-B6FA-4A12ADEE6E2E}" srcOrd="5" destOrd="0" presId="urn:microsoft.com/office/officeart/2005/8/layout/StepDownProcess"/>
    <dgm:cxn modelId="{AD36902D-659D-42C3-9C44-8B93A063A057}" type="presParOf" srcId="{B556C330-5C3E-4796-A193-EE7C8471906A}" destId="{175DB907-B634-48A7-917C-4AB165F8A51C}" srcOrd="6" destOrd="0" presId="urn:microsoft.com/office/officeart/2005/8/layout/StepDownProcess"/>
    <dgm:cxn modelId="{6A3468C0-8828-4850-B8DE-3F6DA4DEE2A5}" type="presParOf" srcId="{175DB907-B634-48A7-917C-4AB165F8A51C}" destId="{9A136C51-BB0E-481B-AF0E-7DE8E2A10233}" srcOrd="0" destOrd="0" presId="urn:microsoft.com/office/officeart/2005/8/layout/StepDownProcess"/>
    <dgm:cxn modelId="{35E66E1B-9E8C-42DA-8E71-A030D3523773}" type="presParOf" srcId="{175DB907-B634-48A7-917C-4AB165F8A51C}" destId="{37D988F3-8511-4D92-872E-C1D3371A86B0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7DD903D-FB21-4D2A-9A3C-1B76B5AFA629}" type="doc">
      <dgm:prSet loTypeId="urn:microsoft.com/office/officeart/2005/8/layout/matrix1" loCatId="matrix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de-DE"/>
        </a:p>
      </dgm:t>
    </dgm:pt>
    <dgm:pt modelId="{F832E9EB-B9D9-4CF3-B65B-EE105CBC108C}">
      <dgm:prSet phldrT="[Text]"/>
      <dgm:spPr/>
      <dgm:t>
        <a:bodyPr/>
        <a:lstStyle/>
        <a:p>
          <a:r>
            <a:rPr lang="de-DE" dirty="0"/>
            <a:t>Annahmen</a:t>
          </a:r>
        </a:p>
      </dgm:t>
    </dgm:pt>
    <dgm:pt modelId="{692BD80F-BA83-44E0-ABF2-BCC5DA0849BC}" type="parTrans" cxnId="{94AEC1F0-B1CA-483A-A018-EB103386EB9B}">
      <dgm:prSet/>
      <dgm:spPr/>
      <dgm:t>
        <a:bodyPr/>
        <a:lstStyle/>
        <a:p>
          <a:endParaRPr lang="de-DE"/>
        </a:p>
      </dgm:t>
    </dgm:pt>
    <dgm:pt modelId="{43CB3327-0F5B-4099-9EA5-243275787E1E}" type="sibTrans" cxnId="{94AEC1F0-B1CA-483A-A018-EB103386EB9B}">
      <dgm:prSet/>
      <dgm:spPr/>
      <dgm:t>
        <a:bodyPr/>
        <a:lstStyle/>
        <a:p>
          <a:endParaRPr lang="de-DE"/>
        </a:p>
      </dgm:t>
    </dgm:pt>
    <dgm:pt modelId="{2F40C156-0D34-4D80-9ADA-D15DF26616D8}">
      <dgm:prSet phldrT="[Text]"/>
      <dgm:spPr/>
      <dgm:t>
        <a:bodyPr/>
        <a:lstStyle/>
        <a:p>
          <a:r>
            <a:rPr lang="de-DE" dirty="0"/>
            <a:t>Belegung Ports je Iteration</a:t>
          </a:r>
        </a:p>
      </dgm:t>
    </dgm:pt>
    <dgm:pt modelId="{8F5AA8C5-8ED0-4D5D-B967-E96593AF0022}" type="parTrans" cxnId="{1C834B46-72C5-45C6-928E-375E76450186}">
      <dgm:prSet/>
      <dgm:spPr/>
      <dgm:t>
        <a:bodyPr/>
        <a:lstStyle/>
        <a:p>
          <a:endParaRPr lang="de-DE"/>
        </a:p>
      </dgm:t>
    </dgm:pt>
    <dgm:pt modelId="{191E2E56-4994-4F34-A87D-EF4D08B7DF2C}" type="sibTrans" cxnId="{1C834B46-72C5-45C6-928E-375E76450186}">
      <dgm:prSet/>
      <dgm:spPr/>
      <dgm:t>
        <a:bodyPr/>
        <a:lstStyle/>
        <a:p>
          <a:endParaRPr lang="de-DE"/>
        </a:p>
      </dgm:t>
    </dgm:pt>
    <dgm:pt modelId="{2C2A168D-9A94-4C93-A453-AA1218F0D5C8}">
      <dgm:prSet phldrT="[Text]"/>
      <dgm:spPr/>
      <dgm:t>
        <a:bodyPr/>
        <a:lstStyle/>
        <a:p>
          <a:r>
            <a:rPr lang="de-DE" dirty="0"/>
            <a:t>Genaue Lastprofile der Geräte</a:t>
          </a:r>
        </a:p>
      </dgm:t>
    </dgm:pt>
    <dgm:pt modelId="{E1E6A7A0-A1D7-4F77-9BF7-68B7B6852CFD}" type="parTrans" cxnId="{6914E60A-038C-410F-A248-5C75FC192C57}">
      <dgm:prSet/>
      <dgm:spPr/>
      <dgm:t>
        <a:bodyPr/>
        <a:lstStyle/>
        <a:p>
          <a:endParaRPr lang="de-DE"/>
        </a:p>
      </dgm:t>
    </dgm:pt>
    <dgm:pt modelId="{D514AE9C-DC78-47D6-9010-A44D0F21E2F4}" type="sibTrans" cxnId="{6914E60A-038C-410F-A248-5C75FC192C57}">
      <dgm:prSet/>
      <dgm:spPr/>
      <dgm:t>
        <a:bodyPr/>
        <a:lstStyle/>
        <a:p>
          <a:endParaRPr lang="de-DE"/>
        </a:p>
      </dgm:t>
    </dgm:pt>
    <dgm:pt modelId="{75FCBE21-CBBE-45FD-A600-88E2EDFDB2BF}">
      <dgm:prSet phldrT="[Text]"/>
      <dgm:spPr/>
      <dgm:t>
        <a:bodyPr/>
        <a:lstStyle/>
        <a:p>
          <a:r>
            <a:rPr lang="de-DE" dirty="0"/>
            <a:t>Alternative Routenfindung für belegte Ports</a:t>
          </a:r>
        </a:p>
      </dgm:t>
    </dgm:pt>
    <dgm:pt modelId="{F394808D-DF72-4950-8429-57CA29B7154E}" type="parTrans" cxnId="{711F3B34-EA52-44A4-BCF9-0B713224FDA4}">
      <dgm:prSet/>
      <dgm:spPr/>
      <dgm:t>
        <a:bodyPr/>
        <a:lstStyle/>
        <a:p>
          <a:endParaRPr lang="de-DE"/>
        </a:p>
      </dgm:t>
    </dgm:pt>
    <dgm:pt modelId="{C3467358-0004-4E1A-94C3-11FC554E77B0}" type="sibTrans" cxnId="{711F3B34-EA52-44A4-BCF9-0B713224FDA4}">
      <dgm:prSet/>
      <dgm:spPr/>
      <dgm:t>
        <a:bodyPr/>
        <a:lstStyle/>
        <a:p>
          <a:endParaRPr lang="de-DE"/>
        </a:p>
      </dgm:t>
    </dgm:pt>
    <dgm:pt modelId="{57BFEBF3-C0A1-4401-AF54-BAB1C71536B0}">
      <dgm:prSet phldrT="[Text]"/>
      <dgm:spPr/>
      <dgm:t>
        <a:bodyPr/>
        <a:lstStyle/>
        <a:p>
          <a:r>
            <a:rPr lang="de-DE" dirty="0"/>
            <a:t>Genauer Status der Geräte zu jedem Zeitpunkt</a:t>
          </a:r>
        </a:p>
      </dgm:t>
    </dgm:pt>
    <dgm:pt modelId="{FB6F7A14-1166-42C2-B78E-DFDE8136711C}" type="parTrans" cxnId="{4F10FB35-EA6B-44C9-895C-3C45916BBC3F}">
      <dgm:prSet/>
      <dgm:spPr/>
      <dgm:t>
        <a:bodyPr/>
        <a:lstStyle/>
        <a:p>
          <a:endParaRPr lang="de-DE"/>
        </a:p>
      </dgm:t>
    </dgm:pt>
    <dgm:pt modelId="{15824BDE-C5A2-4DA7-AA15-7F8176ECEA30}" type="sibTrans" cxnId="{4F10FB35-EA6B-44C9-895C-3C45916BBC3F}">
      <dgm:prSet/>
      <dgm:spPr/>
      <dgm:t>
        <a:bodyPr/>
        <a:lstStyle/>
        <a:p>
          <a:endParaRPr lang="de-DE"/>
        </a:p>
      </dgm:t>
    </dgm:pt>
    <dgm:pt modelId="{E0519233-7520-4FF8-85F3-2F36657A4A96}" type="pres">
      <dgm:prSet presAssocID="{A7DD903D-FB21-4D2A-9A3C-1B76B5AFA629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D1B04E9A-60F5-4EE4-A8B3-74B2920798E9}" type="pres">
      <dgm:prSet presAssocID="{A7DD903D-FB21-4D2A-9A3C-1B76B5AFA629}" presName="matrix" presStyleCnt="0"/>
      <dgm:spPr/>
    </dgm:pt>
    <dgm:pt modelId="{7B3203AC-D259-482E-AFDC-CCA8BD2E2A3A}" type="pres">
      <dgm:prSet presAssocID="{A7DD903D-FB21-4D2A-9A3C-1B76B5AFA629}" presName="tile1" presStyleLbl="node1" presStyleIdx="0" presStyleCnt="4"/>
      <dgm:spPr/>
    </dgm:pt>
    <dgm:pt modelId="{24598655-FE75-4221-AC9F-58B9BADAD4F3}" type="pres">
      <dgm:prSet presAssocID="{A7DD903D-FB21-4D2A-9A3C-1B76B5AFA629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3E001BE3-DFB8-41AA-ADD1-F71F84316F6E}" type="pres">
      <dgm:prSet presAssocID="{A7DD903D-FB21-4D2A-9A3C-1B76B5AFA629}" presName="tile2" presStyleLbl="node1" presStyleIdx="1" presStyleCnt="4"/>
      <dgm:spPr/>
    </dgm:pt>
    <dgm:pt modelId="{630CEA73-2E62-4BF2-A6AE-353A4E878FBD}" type="pres">
      <dgm:prSet presAssocID="{A7DD903D-FB21-4D2A-9A3C-1B76B5AFA629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7477DAB-3735-458E-9E09-7812F06B30C0}" type="pres">
      <dgm:prSet presAssocID="{A7DD903D-FB21-4D2A-9A3C-1B76B5AFA629}" presName="tile3" presStyleLbl="node1" presStyleIdx="2" presStyleCnt="4"/>
      <dgm:spPr/>
    </dgm:pt>
    <dgm:pt modelId="{F764961C-946F-4089-A12D-17DC27F67CC4}" type="pres">
      <dgm:prSet presAssocID="{A7DD903D-FB21-4D2A-9A3C-1B76B5AFA629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C2BB930A-CE0B-499B-829C-84F86C33D11D}" type="pres">
      <dgm:prSet presAssocID="{A7DD903D-FB21-4D2A-9A3C-1B76B5AFA629}" presName="tile4" presStyleLbl="node1" presStyleIdx="3" presStyleCnt="4"/>
      <dgm:spPr/>
    </dgm:pt>
    <dgm:pt modelId="{8065280B-F7B4-4406-96C2-13D9F605B9AC}" type="pres">
      <dgm:prSet presAssocID="{A7DD903D-FB21-4D2A-9A3C-1B76B5AFA629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E9A42DB3-7776-4135-962A-2BF123E63C49}" type="pres">
      <dgm:prSet presAssocID="{A7DD903D-FB21-4D2A-9A3C-1B76B5AFA629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88E86CCD-61F3-4A02-ADDE-4BC8A0FB8D08}" type="presOf" srcId="{2C2A168D-9A94-4C93-A453-AA1218F0D5C8}" destId="{3E001BE3-DFB8-41AA-ADD1-F71F84316F6E}" srcOrd="0" destOrd="0" presId="urn:microsoft.com/office/officeart/2005/8/layout/matrix1"/>
    <dgm:cxn modelId="{1C834B46-72C5-45C6-928E-375E76450186}" srcId="{F832E9EB-B9D9-4CF3-B65B-EE105CBC108C}" destId="{2F40C156-0D34-4D80-9ADA-D15DF26616D8}" srcOrd="0" destOrd="0" parTransId="{8F5AA8C5-8ED0-4D5D-B967-E96593AF0022}" sibTransId="{191E2E56-4994-4F34-A87D-EF4D08B7DF2C}"/>
    <dgm:cxn modelId="{0D178C2A-15E3-40D7-A9E8-D8EBBD2AAD46}" type="presOf" srcId="{2C2A168D-9A94-4C93-A453-AA1218F0D5C8}" destId="{630CEA73-2E62-4BF2-A6AE-353A4E878FBD}" srcOrd="1" destOrd="0" presId="urn:microsoft.com/office/officeart/2005/8/layout/matrix1"/>
    <dgm:cxn modelId="{94AEC1F0-B1CA-483A-A018-EB103386EB9B}" srcId="{A7DD903D-FB21-4D2A-9A3C-1B76B5AFA629}" destId="{F832E9EB-B9D9-4CF3-B65B-EE105CBC108C}" srcOrd="0" destOrd="0" parTransId="{692BD80F-BA83-44E0-ABF2-BCC5DA0849BC}" sibTransId="{43CB3327-0F5B-4099-9EA5-243275787E1E}"/>
    <dgm:cxn modelId="{711F3B34-EA52-44A4-BCF9-0B713224FDA4}" srcId="{F832E9EB-B9D9-4CF3-B65B-EE105CBC108C}" destId="{75FCBE21-CBBE-45FD-A600-88E2EDFDB2BF}" srcOrd="2" destOrd="0" parTransId="{F394808D-DF72-4950-8429-57CA29B7154E}" sibTransId="{C3467358-0004-4E1A-94C3-11FC554E77B0}"/>
    <dgm:cxn modelId="{4F10FB35-EA6B-44C9-895C-3C45916BBC3F}" srcId="{F832E9EB-B9D9-4CF3-B65B-EE105CBC108C}" destId="{57BFEBF3-C0A1-4401-AF54-BAB1C71536B0}" srcOrd="3" destOrd="0" parTransId="{FB6F7A14-1166-42C2-B78E-DFDE8136711C}" sibTransId="{15824BDE-C5A2-4DA7-AA15-7F8176ECEA30}"/>
    <dgm:cxn modelId="{AB80E57F-054C-4075-8BB2-FFA5E56C4F31}" type="presOf" srcId="{2F40C156-0D34-4D80-9ADA-D15DF26616D8}" destId="{7B3203AC-D259-482E-AFDC-CCA8BD2E2A3A}" srcOrd="0" destOrd="0" presId="urn:microsoft.com/office/officeart/2005/8/layout/matrix1"/>
    <dgm:cxn modelId="{46A7A671-C638-4191-A851-B60803137B08}" type="presOf" srcId="{57BFEBF3-C0A1-4401-AF54-BAB1C71536B0}" destId="{C2BB930A-CE0B-499B-829C-84F86C33D11D}" srcOrd="0" destOrd="0" presId="urn:microsoft.com/office/officeart/2005/8/layout/matrix1"/>
    <dgm:cxn modelId="{F09BB70F-0E0E-46F2-8E31-08B167B385AC}" type="presOf" srcId="{F832E9EB-B9D9-4CF3-B65B-EE105CBC108C}" destId="{E9A42DB3-7776-4135-962A-2BF123E63C49}" srcOrd="0" destOrd="0" presId="urn:microsoft.com/office/officeart/2005/8/layout/matrix1"/>
    <dgm:cxn modelId="{2C095CB8-0274-486D-AABF-AD04304F1217}" type="presOf" srcId="{75FCBE21-CBBE-45FD-A600-88E2EDFDB2BF}" destId="{47477DAB-3735-458E-9E09-7812F06B30C0}" srcOrd="0" destOrd="0" presId="urn:microsoft.com/office/officeart/2005/8/layout/matrix1"/>
    <dgm:cxn modelId="{576488A9-4E99-4BCA-93CE-7F8F03A24C6D}" type="presOf" srcId="{75FCBE21-CBBE-45FD-A600-88E2EDFDB2BF}" destId="{F764961C-946F-4089-A12D-17DC27F67CC4}" srcOrd="1" destOrd="0" presId="urn:microsoft.com/office/officeart/2005/8/layout/matrix1"/>
    <dgm:cxn modelId="{2B389A21-0958-45B1-AB5C-A19A92173168}" type="presOf" srcId="{A7DD903D-FB21-4D2A-9A3C-1B76B5AFA629}" destId="{E0519233-7520-4FF8-85F3-2F36657A4A96}" srcOrd="0" destOrd="0" presId="urn:microsoft.com/office/officeart/2005/8/layout/matrix1"/>
    <dgm:cxn modelId="{6914E60A-038C-410F-A248-5C75FC192C57}" srcId="{F832E9EB-B9D9-4CF3-B65B-EE105CBC108C}" destId="{2C2A168D-9A94-4C93-A453-AA1218F0D5C8}" srcOrd="1" destOrd="0" parTransId="{E1E6A7A0-A1D7-4F77-9BF7-68B7B6852CFD}" sibTransId="{D514AE9C-DC78-47D6-9010-A44D0F21E2F4}"/>
    <dgm:cxn modelId="{41B5EE35-271E-430A-BC5A-C74A22EAD2FC}" type="presOf" srcId="{2F40C156-0D34-4D80-9ADA-D15DF26616D8}" destId="{24598655-FE75-4221-AC9F-58B9BADAD4F3}" srcOrd="1" destOrd="0" presId="urn:microsoft.com/office/officeart/2005/8/layout/matrix1"/>
    <dgm:cxn modelId="{F87866C7-B080-4AA1-BB2E-1676C6D626B9}" type="presOf" srcId="{57BFEBF3-C0A1-4401-AF54-BAB1C71536B0}" destId="{8065280B-F7B4-4406-96C2-13D9F605B9AC}" srcOrd="1" destOrd="0" presId="urn:microsoft.com/office/officeart/2005/8/layout/matrix1"/>
    <dgm:cxn modelId="{00CBD819-7D10-46EE-B353-A7F1BF03436A}" type="presParOf" srcId="{E0519233-7520-4FF8-85F3-2F36657A4A96}" destId="{D1B04E9A-60F5-4EE4-A8B3-74B2920798E9}" srcOrd="0" destOrd="0" presId="urn:microsoft.com/office/officeart/2005/8/layout/matrix1"/>
    <dgm:cxn modelId="{65A6809C-03F3-4807-87A2-E06B8EF57934}" type="presParOf" srcId="{D1B04E9A-60F5-4EE4-A8B3-74B2920798E9}" destId="{7B3203AC-D259-482E-AFDC-CCA8BD2E2A3A}" srcOrd="0" destOrd="0" presId="urn:microsoft.com/office/officeart/2005/8/layout/matrix1"/>
    <dgm:cxn modelId="{270CE539-7694-41C9-BD92-634CD4578B48}" type="presParOf" srcId="{D1B04E9A-60F5-4EE4-A8B3-74B2920798E9}" destId="{24598655-FE75-4221-AC9F-58B9BADAD4F3}" srcOrd="1" destOrd="0" presId="urn:microsoft.com/office/officeart/2005/8/layout/matrix1"/>
    <dgm:cxn modelId="{DDF8A22A-7AFE-40B4-B042-E917C34D13F1}" type="presParOf" srcId="{D1B04E9A-60F5-4EE4-A8B3-74B2920798E9}" destId="{3E001BE3-DFB8-41AA-ADD1-F71F84316F6E}" srcOrd="2" destOrd="0" presId="urn:microsoft.com/office/officeart/2005/8/layout/matrix1"/>
    <dgm:cxn modelId="{89ECBCA9-7162-40B5-85E4-16CE6899E820}" type="presParOf" srcId="{D1B04E9A-60F5-4EE4-A8B3-74B2920798E9}" destId="{630CEA73-2E62-4BF2-A6AE-353A4E878FBD}" srcOrd="3" destOrd="0" presId="urn:microsoft.com/office/officeart/2005/8/layout/matrix1"/>
    <dgm:cxn modelId="{4D6B6843-C994-4F36-9E1D-0E7C497DE3A6}" type="presParOf" srcId="{D1B04E9A-60F5-4EE4-A8B3-74B2920798E9}" destId="{47477DAB-3735-458E-9E09-7812F06B30C0}" srcOrd="4" destOrd="0" presId="urn:microsoft.com/office/officeart/2005/8/layout/matrix1"/>
    <dgm:cxn modelId="{CABE3565-7EA7-4D90-A782-0087AC7D3893}" type="presParOf" srcId="{D1B04E9A-60F5-4EE4-A8B3-74B2920798E9}" destId="{F764961C-946F-4089-A12D-17DC27F67CC4}" srcOrd="5" destOrd="0" presId="urn:microsoft.com/office/officeart/2005/8/layout/matrix1"/>
    <dgm:cxn modelId="{7684AD2F-8585-4023-A627-9934FAE88AB9}" type="presParOf" srcId="{D1B04E9A-60F5-4EE4-A8B3-74B2920798E9}" destId="{C2BB930A-CE0B-499B-829C-84F86C33D11D}" srcOrd="6" destOrd="0" presId="urn:microsoft.com/office/officeart/2005/8/layout/matrix1"/>
    <dgm:cxn modelId="{91B95493-4397-4067-B1F5-5E18B60C6E8D}" type="presParOf" srcId="{D1B04E9A-60F5-4EE4-A8B3-74B2920798E9}" destId="{8065280B-F7B4-4406-96C2-13D9F605B9AC}" srcOrd="7" destOrd="0" presId="urn:microsoft.com/office/officeart/2005/8/layout/matrix1"/>
    <dgm:cxn modelId="{D89FD486-9B1F-465E-B3C1-C06F572ADA90}" type="presParOf" srcId="{E0519233-7520-4FF8-85F3-2F36657A4A96}" destId="{E9A42DB3-7776-4135-962A-2BF123E63C49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8D4FE5-FBBF-43C2-B725-A8CFCB6D1722}">
      <dsp:nvSpPr>
        <dsp:cNvPr id="0" name=""/>
        <dsp:cNvSpPr/>
      </dsp:nvSpPr>
      <dsp:spPr>
        <a:xfrm>
          <a:off x="58935" y="368"/>
          <a:ext cx="2320602" cy="139236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85000"/>
                <a:satMod val="130000"/>
              </a:schemeClr>
            </a:gs>
            <a:gs pos="34000">
              <a:schemeClr val="accent1">
                <a:hueOff val="0"/>
                <a:satOff val="0"/>
                <a:lumOff val="0"/>
                <a:alphaOff val="0"/>
                <a:shade val="87000"/>
                <a:satMod val="125000"/>
              </a:schemeClr>
            </a:gs>
            <a:gs pos="70000">
              <a:schemeClr val="accent1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44450" dist="25400" dir="2700000" algn="b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9800000"/>
          </a:lightRig>
        </a:scene3d>
        <a:sp3d prstMaterial="flat">
          <a:bevelT w="25400" h="3175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Netzelemente</a:t>
          </a:r>
        </a:p>
      </dsp:txBody>
      <dsp:txXfrm>
        <a:off x="58935" y="368"/>
        <a:ext cx="2320602" cy="1392361"/>
      </dsp:txXfrm>
    </dsp:sp>
    <dsp:sp modelId="{CEA62D47-EB41-46E8-8306-281849F2B4F6}">
      <dsp:nvSpPr>
        <dsp:cNvPr id="0" name=""/>
        <dsp:cNvSpPr/>
      </dsp:nvSpPr>
      <dsp:spPr>
        <a:xfrm>
          <a:off x="2611598" y="368"/>
          <a:ext cx="2320602" cy="139236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85000"/>
                <a:satMod val="130000"/>
              </a:schemeClr>
            </a:gs>
            <a:gs pos="34000">
              <a:schemeClr val="accent1">
                <a:hueOff val="0"/>
                <a:satOff val="0"/>
                <a:lumOff val="0"/>
                <a:alphaOff val="0"/>
                <a:shade val="87000"/>
                <a:satMod val="125000"/>
              </a:schemeClr>
            </a:gs>
            <a:gs pos="70000">
              <a:schemeClr val="accent1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44450" dist="25400" dir="2700000" algn="b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9800000"/>
          </a:lightRig>
        </a:scene3d>
        <a:sp3d prstMaterial="flat">
          <a:bevelT w="25400" h="3175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Netzarchitektur</a:t>
          </a:r>
        </a:p>
      </dsp:txBody>
      <dsp:txXfrm>
        <a:off x="2611598" y="368"/>
        <a:ext cx="2320602" cy="1392361"/>
      </dsp:txXfrm>
    </dsp:sp>
    <dsp:sp modelId="{57BE454C-10B4-494C-9561-A80692F8F997}">
      <dsp:nvSpPr>
        <dsp:cNvPr id="0" name=""/>
        <dsp:cNvSpPr/>
      </dsp:nvSpPr>
      <dsp:spPr>
        <a:xfrm>
          <a:off x="5164261" y="368"/>
          <a:ext cx="2320602" cy="139236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85000"/>
                <a:satMod val="130000"/>
              </a:schemeClr>
            </a:gs>
            <a:gs pos="34000">
              <a:schemeClr val="accent1">
                <a:hueOff val="0"/>
                <a:satOff val="0"/>
                <a:lumOff val="0"/>
                <a:alphaOff val="0"/>
                <a:shade val="87000"/>
                <a:satMod val="125000"/>
              </a:schemeClr>
            </a:gs>
            <a:gs pos="70000">
              <a:schemeClr val="accent1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44450" dist="25400" dir="2700000" algn="b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9800000"/>
          </a:lightRig>
        </a:scene3d>
        <a:sp3d prstMaterial="flat">
          <a:bevelT w="25400" h="3175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Verkehrslastadaptiver Netzbetrieb</a:t>
          </a:r>
        </a:p>
      </dsp:txBody>
      <dsp:txXfrm>
        <a:off x="5164261" y="368"/>
        <a:ext cx="2320602" cy="1392361"/>
      </dsp:txXfrm>
    </dsp:sp>
    <dsp:sp modelId="{A4403BAE-959B-43ED-BB26-F759C64CED16}">
      <dsp:nvSpPr>
        <dsp:cNvPr id="0" name=""/>
        <dsp:cNvSpPr/>
      </dsp:nvSpPr>
      <dsp:spPr>
        <a:xfrm>
          <a:off x="1335267" y="1624790"/>
          <a:ext cx="2320602" cy="139236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85000"/>
                <a:satMod val="130000"/>
              </a:schemeClr>
            </a:gs>
            <a:gs pos="34000">
              <a:schemeClr val="accent1">
                <a:hueOff val="0"/>
                <a:satOff val="0"/>
                <a:lumOff val="0"/>
                <a:alphaOff val="0"/>
                <a:shade val="87000"/>
                <a:satMod val="125000"/>
              </a:schemeClr>
            </a:gs>
            <a:gs pos="70000">
              <a:schemeClr val="accent1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44450" dist="25400" dir="2700000" algn="b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9800000"/>
          </a:lightRig>
        </a:scene3d>
        <a:sp3d prstMaterial="flat">
          <a:bevelT w="25400" h="3175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Hybrid Optical </a:t>
          </a:r>
          <a:r>
            <a:rPr lang="de-DE" sz="1900" kern="1200" dirty="0" err="1"/>
            <a:t>Switching</a:t>
          </a:r>
          <a:endParaRPr lang="de-DE" sz="1900" kern="1200" dirty="0"/>
        </a:p>
      </dsp:txBody>
      <dsp:txXfrm>
        <a:off x="1335267" y="1624790"/>
        <a:ext cx="2320602" cy="1392361"/>
      </dsp:txXfrm>
    </dsp:sp>
    <dsp:sp modelId="{A3961B9E-FF29-46BD-A7AE-78F927FD5B5D}">
      <dsp:nvSpPr>
        <dsp:cNvPr id="0" name=""/>
        <dsp:cNvSpPr/>
      </dsp:nvSpPr>
      <dsp:spPr>
        <a:xfrm>
          <a:off x="3887930" y="1624790"/>
          <a:ext cx="2320602" cy="139236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85000"/>
                <a:satMod val="130000"/>
              </a:schemeClr>
            </a:gs>
            <a:gs pos="34000">
              <a:schemeClr val="accent1">
                <a:hueOff val="0"/>
                <a:satOff val="0"/>
                <a:lumOff val="0"/>
                <a:alphaOff val="0"/>
                <a:shade val="87000"/>
                <a:satMod val="125000"/>
              </a:schemeClr>
            </a:gs>
            <a:gs pos="70000">
              <a:schemeClr val="accent1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44450" dist="25400" dir="2700000" algn="b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9800000"/>
          </a:lightRig>
        </a:scene3d>
        <a:sp3d prstMaterial="flat">
          <a:bevelT w="25400" h="3175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Adaptive Optical </a:t>
          </a:r>
          <a:r>
            <a:rPr lang="de-DE" sz="1900" kern="1200" dirty="0" err="1"/>
            <a:t>Switching</a:t>
          </a:r>
          <a:endParaRPr lang="de-DE" sz="1900" kern="1200" dirty="0"/>
        </a:p>
      </dsp:txBody>
      <dsp:txXfrm>
        <a:off x="3887930" y="1624790"/>
        <a:ext cx="2320602" cy="139236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3F3EA3-45AB-464E-9879-FA554B1F9C73}">
      <dsp:nvSpPr>
        <dsp:cNvPr id="0" name=""/>
        <dsp:cNvSpPr/>
      </dsp:nvSpPr>
      <dsp:spPr>
        <a:xfrm rot="16200000">
          <a:off x="-310464" y="311385"/>
          <a:ext cx="3017044" cy="2394272"/>
        </a:xfrm>
        <a:prstGeom prst="flowChartManualOperati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8692" bIns="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Literaturrecherch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kern="1200" dirty="0"/>
            <a:t>Methoden zur </a:t>
          </a:r>
          <a:r>
            <a:rPr lang="de-DE" sz="1600" kern="1200" dirty="0" err="1"/>
            <a:t>Effizenzsteigerung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kern="1200" dirty="0"/>
            <a:t>Grundlagen </a:t>
          </a:r>
          <a:r>
            <a:rPr lang="de-DE" sz="1600" kern="1200" dirty="0" err="1"/>
            <a:t>Carriernetze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kern="1200" dirty="0"/>
            <a:t>Spezifikationen reale Netze</a:t>
          </a:r>
        </a:p>
      </dsp:txBody>
      <dsp:txXfrm rot="5400000">
        <a:off x="922" y="603408"/>
        <a:ext cx="2394272" cy="1810226"/>
      </dsp:txXfrm>
    </dsp:sp>
    <dsp:sp modelId="{B15488B2-CF2F-4320-8A28-5121C92398E2}">
      <dsp:nvSpPr>
        <dsp:cNvPr id="0" name=""/>
        <dsp:cNvSpPr/>
      </dsp:nvSpPr>
      <dsp:spPr>
        <a:xfrm rot="16200000">
          <a:off x="2263378" y="311385"/>
          <a:ext cx="3017044" cy="2394272"/>
        </a:xfrm>
        <a:prstGeom prst="flowChartManualOperati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8692" bIns="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Modelli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kern="1200" dirty="0"/>
            <a:t>Softwarearchitektur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kern="1200" dirty="0"/>
            <a:t>Routing-Algorithmu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kern="1200" dirty="0"/>
            <a:t>Anforderungsanalys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kern="1200" dirty="0"/>
            <a:t>Netzdefinition</a:t>
          </a:r>
        </a:p>
      </dsp:txBody>
      <dsp:txXfrm rot="5400000">
        <a:off x="2574764" y="603408"/>
        <a:ext cx="2394272" cy="1810226"/>
      </dsp:txXfrm>
    </dsp:sp>
    <dsp:sp modelId="{C059C74B-994A-45A9-9BCF-C8ED005B530B}">
      <dsp:nvSpPr>
        <dsp:cNvPr id="0" name=""/>
        <dsp:cNvSpPr/>
      </dsp:nvSpPr>
      <dsp:spPr>
        <a:xfrm rot="16200000">
          <a:off x="4837220" y="311385"/>
          <a:ext cx="3017044" cy="2394272"/>
        </a:xfrm>
        <a:prstGeom prst="flowChartManualOperati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8692" bIns="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Implementi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kern="1200" dirty="0"/>
            <a:t>Umsetzung der Softwaremodelli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kern="1200" dirty="0"/>
            <a:t>Verwendung von Java und MySQL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kern="1200" dirty="0"/>
            <a:t>Realistisches Ergebnis</a:t>
          </a:r>
        </a:p>
      </dsp:txBody>
      <dsp:txXfrm rot="5400000">
        <a:off x="5148606" y="603408"/>
        <a:ext cx="2394272" cy="181022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998FB7-564B-431E-A3FB-194467F1313E}">
      <dsp:nvSpPr>
        <dsp:cNvPr id="0" name=""/>
        <dsp:cNvSpPr/>
      </dsp:nvSpPr>
      <dsp:spPr>
        <a:xfrm rot="5400000">
          <a:off x="426645" y="1006462"/>
          <a:ext cx="990400" cy="1127536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7A0B080-3084-4689-9E59-F31373C83C36}">
      <dsp:nvSpPr>
        <dsp:cNvPr id="0" name=""/>
        <dsp:cNvSpPr/>
      </dsp:nvSpPr>
      <dsp:spPr>
        <a:xfrm>
          <a:off x="164249" y="33991"/>
          <a:ext cx="1667252" cy="916205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Datenbank einlesen</a:t>
          </a:r>
        </a:p>
      </dsp:txBody>
      <dsp:txXfrm>
        <a:off x="208982" y="78724"/>
        <a:ext cx="1577786" cy="826739"/>
      </dsp:txXfrm>
    </dsp:sp>
    <dsp:sp modelId="{6511CEB0-19F1-470C-8F67-B7DEDE41B465}">
      <dsp:nvSpPr>
        <dsp:cNvPr id="0" name=""/>
        <dsp:cNvSpPr/>
      </dsp:nvSpPr>
      <dsp:spPr>
        <a:xfrm>
          <a:off x="1827378" y="18112"/>
          <a:ext cx="1474352" cy="9432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200" kern="1200" dirty="0"/>
            <a:t>Netzhardware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200" kern="1200" dirty="0"/>
            <a:t>Verbindungen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200" kern="1200" dirty="0"/>
            <a:t>Last-Quellen &amp; -Senken</a:t>
          </a:r>
        </a:p>
      </dsp:txBody>
      <dsp:txXfrm>
        <a:off x="1827378" y="18112"/>
        <a:ext cx="1474352" cy="943239"/>
      </dsp:txXfrm>
    </dsp:sp>
    <dsp:sp modelId="{E6CEC19E-4A8F-4B76-9AF8-767C363F9107}">
      <dsp:nvSpPr>
        <dsp:cNvPr id="0" name=""/>
        <dsp:cNvSpPr/>
      </dsp:nvSpPr>
      <dsp:spPr>
        <a:xfrm rot="5400000">
          <a:off x="1871794" y="2206112"/>
          <a:ext cx="990400" cy="1127536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389396-AF9A-458C-BE2A-65DF6104C498}">
      <dsp:nvSpPr>
        <dsp:cNvPr id="0" name=""/>
        <dsp:cNvSpPr/>
      </dsp:nvSpPr>
      <dsp:spPr>
        <a:xfrm>
          <a:off x="1609398" y="1239096"/>
          <a:ext cx="1667252" cy="905294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Routing-Entscheidungen treffen</a:t>
          </a:r>
        </a:p>
      </dsp:txBody>
      <dsp:txXfrm>
        <a:off x="1653599" y="1283297"/>
        <a:ext cx="1578850" cy="816892"/>
      </dsp:txXfrm>
    </dsp:sp>
    <dsp:sp modelId="{E1665EF9-8E06-4B5A-8A58-BA78525B9F5F}">
      <dsp:nvSpPr>
        <dsp:cNvPr id="0" name=""/>
        <dsp:cNvSpPr/>
      </dsp:nvSpPr>
      <dsp:spPr>
        <a:xfrm>
          <a:off x="3314938" y="1228590"/>
          <a:ext cx="1498155" cy="9432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200" kern="1200" dirty="0"/>
            <a:t>Je Zeitabschnit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200" kern="1200" dirty="0"/>
            <a:t>Je Netzlas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200" kern="1200" dirty="0" err="1"/>
            <a:t>Greedy</a:t>
          </a:r>
          <a:r>
            <a:rPr lang="de-DE" sz="1200" kern="1200" dirty="0"/>
            <a:t> Algorithmus</a:t>
          </a:r>
        </a:p>
      </dsp:txBody>
      <dsp:txXfrm>
        <a:off x="3314938" y="1228590"/>
        <a:ext cx="1498155" cy="943239"/>
      </dsp:txXfrm>
    </dsp:sp>
    <dsp:sp modelId="{E3927F14-B751-456F-97B8-E60AAC1B4BB3}">
      <dsp:nvSpPr>
        <dsp:cNvPr id="0" name=""/>
        <dsp:cNvSpPr/>
      </dsp:nvSpPr>
      <dsp:spPr>
        <a:xfrm rot="5400000">
          <a:off x="3316944" y="3405761"/>
          <a:ext cx="990400" cy="1127536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0D09A58-EBC7-4692-A900-05F58F2B6347}">
      <dsp:nvSpPr>
        <dsp:cNvPr id="0" name=""/>
        <dsp:cNvSpPr/>
      </dsp:nvSpPr>
      <dsp:spPr>
        <a:xfrm>
          <a:off x="3054548" y="2472087"/>
          <a:ext cx="1667252" cy="838610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Energieverbrauch berechnen</a:t>
          </a:r>
        </a:p>
      </dsp:txBody>
      <dsp:txXfrm>
        <a:off x="3095493" y="2513032"/>
        <a:ext cx="1585362" cy="756720"/>
      </dsp:txXfrm>
    </dsp:sp>
    <dsp:sp modelId="{B612DAF9-DD2B-4DAC-A70C-70349130E5DC}">
      <dsp:nvSpPr>
        <dsp:cNvPr id="0" name=""/>
        <dsp:cNvSpPr/>
      </dsp:nvSpPr>
      <dsp:spPr>
        <a:xfrm>
          <a:off x="4729622" y="2428239"/>
          <a:ext cx="1721140" cy="9432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200" kern="1200" dirty="0"/>
            <a:t>Abhängig von Auslastung, An-/Aus-Status, Streckendistanz, Energiesparmodi</a:t>
          </a:r>
        </a:p>
      </dsp:txBody>
      <dsp:txXfrm>
        <a:off x="4729622" y="2428239"/>
        <a:ext cx="1721140" cy="943239"/>
      </dsp:txXfrm>
    </dsp:sp>
    <dsp:sp modelId="{9A136C51-BB0E-481B-AF0E-7DE8E2A10233}">
      <dsp:nvSpPr>
        <dsp:cNvPr id="0" name=""/>
        <dsp:cNvSpPr/>
      </dsp:nvSpPr>
      <dsp:spPr>
        <a:xfrm>
          <a:off x="4499698" y="3725209"/>
          <a:ext cx="1667252" cy="731664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Ergebnis Diagramm und Tabellenwerte</a:t>
          </a:r>
        </a:p>
      </dsp:txBody>
      <dsp:txXfrm>
        <a:off x="4535421" y="3760932"/>
        <a:ext cx="1595806" cy="660218"/>
      </dsp:txXfrm>
    </dsp:sp>
    <dsp:sp modelId="{37D988F3-8511-4D92-872E-C1D3371A86B0}">
      <dsp:nvSpPr>
        <dsp:cNvPr id="0" name=""/>
        <dsp:cNvSpPr/>
      </dsp:nvSpPr>
      <dsp:spPr>
        <a:xfrm>
          <a:off x="6166950" y="3618833"/>
          <a:ext cx="1212600" cy="9432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de-DE" sz="2800" kern="1200" dirty="0"/>
        </a:p>
      </dsp:txBody>
      <dsp:txXfrm>
        <a:off x="6166950" y="3618833"/>
        <a:ext cx="1212600" cy="94323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B3203AC-D259-482E-AFDC-CCA8BD2E2A3A}">
      <dsp:nvSpPr>
        <dsp:cNvPr id="0" name=""/>
        <dsp:cNvSpPr/>
      </dsp:nvSpPr>
      <dsp:spPr>
        <a:xfrm rot="16200000">
          <a:off x="1131689" y="-1131689"/>
          <a:ext cx="1508522" cy="3771900"/>
        </a:xfrm>
        <a:prstGeom prst="round1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Belegung Ports je Iteration</a:t>
          </a:r>
        </a:p>
      </dsp:txBody>
      <dsp:txXfrm rot="5400000">
        <a:off x="0" y="0"/>
        <a:ext cx="3771900" cy="1131391"/>
      </dsp:txXfrm>
    </dsp:sp>
    <dsp:sp modelId="{3E001BE3-DFB8-41AA-ADD1-F71F84316F6E}">
      <dsp:nvSpPr>
        <dsp:cNvPr id="0" name=""/>
        <dsp:cNvSpPr/>
      </dsp:nvSpPr>
      <dsp:spPr>
        <a:xfrm>
          <a:off x="3771900" y="0"/>
          <a:ext cx="3771900" cy="1508522"/>
        </a:xfrm>
        <a:prstGeom prst="round1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Genaue Lastprofile der Geräte</a:t>
          </a:r>
        </a:p>
      </dsp:txBody>
      <dsp:txXfrm>
        <a:off x="3771900" y="0"/>
        <a:ext cx="3771900" cy="1131391"/>
      </dsp:txXfrm>
    </dsp:sp>
    <dsp:sp modelId="{47477DAB-3735-458E-9E09-7812F06B30C0}">
      <dsp:nvSpPr>
        <dsp:cNvPr id="0" name=""/>
        <dsp:cNvSpPr/>
      </dsp:nvSpPr>
      <dsp:spPr>
        <a:xfrm rot="10800000">
          <a:off x="0" y="1508522"/>
          <a:ext cx="3771900" cy="1508522"/>
        </a:xfrm>
        <a:prstGeom prst="round1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Alternative Routenfindung für belegte Ports</a:t>
          </a:r>
        </a:p>
      </dsp:txBody>
      <dsp:txXfrm rot="10800000">
        <a:off x="0" y="1885652"/>
        <a:ext cx="3771900" cy="1131391"/>
      </dsp:txXfrm>
    </dsp:sp>
    <dsp:sp modelId="{C2BB930A-CE0B-499B-829C-84F86C33D11D}">
      <dsp:nvSpPr>
        <dsp:cNvPr id="0" name=""/>
        <dsp:cNvSpPr/>
      </dsp:nvSpPr>
      <dsp:spPr>
        <a:xfrm rot="5400000">
          <a:off x="4903589" y="376833"/>
          <a:ext cx="1508522" cy="3771900"/>
        </a:xfrm>
        <a:prstGeom prst="round1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Genauer Status der Geräte zu jedem Zeitpunkt</a:t>
          </a:r>
        </a:p>
      </dsp:txBody>
      <dsp:txXfrm rot="-5400000">
        <a:off x="3771900" y="1885652"/>
        <a:ext cx="3771900" cy="1131391"/>
      </dsp:txXfrm>
    </dsp:sp>
    <dsp:sp modelId="{E9A42DB3-7776-4135-962A-2BF123E63C49}">
      <dsp:nvSpPr>
        <dsp:cNvPr id="0" name=""/>
        <dsp:cNvSpPr/>
      </dsp:nvSpPr>
      <dsp:spPr>
        <a:xfrm>
          <a:off x="2640330" y="1131391"/>
          <a:ext cx="2263140" cy="754261"/>
        </a:xfrm>
        <a:prstGeom prst="roundRect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Annahmen</a:t>
          </a:r>
        </a:p>
      </dsp:txBody>
      <dsp:txXfrm>
        <a:off x="2677150" y="1168211"/>
        <a:ext cx="2189500" cy="68062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046822-C259-4DAE-A563-6AA326127592}" type="datetimeFigureOut">
              <a:rPr lang="de-DE" smtClean="0"/>
              <a:t>08.07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FD2360-9F34-4713-B078-40964373A8E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49323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D2360-9F34-4713-B078-40964373A8E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56083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rofessionalität,</a:t>
            </a:r>
            <a:r>
              <a:rPr lang="de-DE" baseline="0" dirty="0"/>
              <a:t> wissenschaftlicher Ansatz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D2360-9F34-4713-B078-40964373A8EB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98871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Netz ähnlich dem eines großen italienischen Carriers definiert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Einsparpotenzial auf einen großen europäischen Telekommunikationskonzern wie die Deutsche Telekom AG, ergeben sich weit größere Summen. </a:t>
            </a:r>
          </a:p>
          <a:p>
            <a:r>
              <a:rPr lang="de-DE" dirty="0">
                <a:sym typeface="Wingdings"/>
              </a:rPr>
              <a:t> Zudem können weitere Energiespartechnologien</a:t>
            </a:r>
            <a:r>
              <a:rPr lang="de-DE" baseline="0" dirty="0">
                <a:sym typeface="Wingdings"/>
              </a:rPr>
              <a:t> eingesetzt werden, wodurch das Energiesparpotential noch erhöht </a:t>
            </a:r>
            <a:r>
              <a:rPr lang="de-DE" baseline="0">
                <a:sym typeface="Wingdings"/>
              </a:rPr>
              <a:t>werden kan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D2360-9F34-4713-B078-40964373A8EB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07276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2960" y="758952"/>
            <a:ext cx="75438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5038" y="4455621"/>
            <a:ext cx="75438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19714F-8D2C-4B49-B279-114E11B89ABB}" type="datetime1">
              <a:rPr lang="en-US" smtClean="0"/>
              <a:t>7/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434340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65675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81F25-075F-4C75-B4EE-5A54F918DCDD}" type="datetime1">
              <a:rPr lang="en-US" smtClean="0"/>
              <a:t>7/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1564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412302"/>
            <a:ext cx="1971675" cy="575989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412302"/>
            <a:ext cx="5800725" cy="5759898"/>
          </a:xfrm>
        </p:spPr>
        <p:txBody>
          <a:bodyPr vert="eaVert" lIns="45720" tIns="0" rIns="45720" bIns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F746D-5E92-47D3-8466-4AED46A07248}" type="datetime1">
              <a:rPr lang="en-US" smtClean="0"/>
              <a:t>7/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4004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BD5252-F59E-4F46-9FA1-EC3172AC9975}" type="datetime1">
              <a:rPr lang="en-US" smtClean="0"/>
              <a:t>7/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168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-&#10;überschri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758952"/>
            <a:ext cx="75438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4453128"/>
            <a:ext cx="75438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300F36-DB91-4A3F-90F0-8EBF6349271F}" type="datetime1">
              <a:rPr lang="en-US" smtClean="0"/>
              <a:t>7/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434340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48895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2960" y="1845734"/>
            <a:ext cx="3703320" cy="402336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845735"/>
            <a:ext cx="3703320" cy="402336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5808F6-C30D-40F3-99CD-30E42F131340}" type="datetime1">
              <a:rPr lang="en-US" smtClean="0"/>
              <a:t>7/8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92504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960" y="2582334"/>
            <a:ext cx="3703320" cy="33782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344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440" y="2582334"/>
            <a:ext cx="3703320" cy="33782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3BEFE-FA29-4768-9E36-5DF6DA79C4A4}" type="datetime1">
              <a:rPr lang="en-US" smtClean="0"/>
              <a:t>7/8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20873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D6305-15A3-45D4-8DA9-EBBEB8FDD0EE}" type="datetime1">
              <a:rPr lang="en-US" smtClean="0"/>
              <a:t>7/8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77722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C6C296-4750-49C1-9C3E-AB2E4A152498}" type="datetime1">
              <a:rPr lang="en-US" smtClean="0"/>
              <a:t>7/8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1465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3" y="0"/>
            <a:ext cx="303809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3030053" y="0"/>
            <a:ext cx="4800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594359"/>
            <a:ext cx="24003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450" y="731520"/>
            <a:ext cx="4869180" cy="5257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926080"/>
            <a:ext cx="24003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49134" y="6459786"/>
            <a:ext cx="1963883" cy="365125"/>
          </a:xfrm>
        </p:spPr>
        <p:txBody>
          <a:bodyPr/>
          <a:lstStyle>
            <a:lvl1pPr algn="l">
              <a:defRPr/>
            </a:lvl1pPr>
          </a:lstStyle>
          <a:p>
            <a:fld id="{7490234C-0DF9-49B4-AC71-37F3247E7E71}" type="datetime1">
              <a:rPr lang="en-US" smtClean="0"/>
              <a:t>7/8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600450" y="6459786"/>
            <a:ext cx="348615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52558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9141619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2" y="491507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5074920"/>
            <a:ext cx="7585234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" y="0"/>
            <a:ext cx="9143989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2960" y="5907024"/>
            <a:ext cx="7589520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D95426-207B-4F92-A837-6CFDFEEE1DB8}" type="datetime1">
              <a:rPr lang="en-US" smtClean="0"/>
              <a:t>7/8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29888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400800"/>
            <a:ext cx="9144001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0" y="6334315"/>
            <a:ext cx="9144001" cy="65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59" y="1845734"/>
            <a:ext cx="7543801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87EA9E9A-60B5-44B2-84B1-088A964AF6F3}" type="datetime1">
              <a:rPr lang="en-US" smtClean="0"/>
              <a:t>7/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25344" y="6459786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895149" y="1737845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7559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</p:sldLayoutIdLst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jpg"/><Relationship Id="rId4" Type="http://schemas.openxmlformats.org/officeDocument/2006/relationships/image" Target="../media/image9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chart" Target="../charts/char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WAB 3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Wirtschaftlichkeit von energieeffizienten Netzkonzep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72887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de-DE" sz="3200" dirty="0"/>
              <a:t>Die Projektaufgaben wurden durch Tools für verteiltes Arbeiten unterstützt.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pic>
        <p:nvPicPr>
          <p:cNvPr id="4" name="Picture 8" descr="https://assets-cdn.github.com/images/modules/logos_page/Octoca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7634" y="2328049"/>
            <a:ext cx="1706428" cy="1418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4" descr="https://familysearch.org/learn/wiki/en/images/6/6b/Cisco-webex-logo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47" r="11843"/>
          <a:stretch/>
        </p:blipFill>
        <p:spPr bwMode="auto">
          <a:xfrm>
            <a:off x="5932801" y="2866027"/>
            <a:ext cx="1261383" cy="1464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http://thenextweb.com/wp-content/blogs.dir/1/files/2015/09/Todoist-new-logo-white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4639" y="3800801"/>
            <a:ext cx="2835241" cy="1847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http://tech.firstpost.com/wp-content/uploads/2014/02/telegram-logo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9" r="25168"/>
          <a:stretch/>
        </p:blipFill>
        <p:spPr bwMode="auto">
          <a:xfrm>
            <a:off x="1457488" y="3161445"/>
            <a:ext cx="1111406" cy="1170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54749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de-DE" sz="3200" dirty="0"/>
              <a:t>Die Modellierung eines Beispielnetzes erfolgte basierend auf einem italienischen Providernetz. </a:t>
            </a:r>
          </a:p>
        </p:txBody>
      </p:sp>
      <p:pic>
        <p:nvPicPr>
          <p:cNvPr id="8" name="Inhaltsplatzhalter 7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822325" y="1985145"/>
            <a:ext cx="3703638" cy="3744961"/>
          </a:xfrm>
          <a:prstGeom prst="rect">
            <a:avLst/>
          </a:prstGeom>
        </p:spPr>
      </p:pic>
      <p:graphicFrame>
        <p:nvGraphicFramePr>
          <p:cNvPr id="7" name="Inhaltsplatzhalter 6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75632870"/>
              </p:ext>
            </p:extLst>
          </p:nvPr>
        </p:nvGraphicFramePr>
        <p:xfrm>
          <a:off x="4664709" y="2658534"/>
          <a:ext cx="3702051" cy="239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4017">
                  <a:extLst>
                    <a:ext uri="{9D8B030D-6E8A-4147-A177-3AD203B41FA5}">
                      <a16:colId xmlns:a16="http://schemas.microsoft.com/office/drawing/2014/main" val="1835636261"/>
                    </a:ext>
                  </a:extLst>
                </a:gridCol>
                <a:gridCol w="832908">
                  <a:extLst>
                    <a:ext uri="{9D8B030D-6E8A-4147-A177-3AD203B41FA5}">
                      <a16:colId xmlns:a16="http://schemas.microsoft.com/office/drawing/2014/main" val="4008575249"/>
                    </a:ext>
                  </a:extLst>
                </a:gridCol>
                <a:gridCol w="1635126">
                  <a:extLst>
                    <a:ext uri="{9D8B030D-6E8A-4147-A177-3AD203B41FA5}">
                      <a16:colId xmlns:a16="http://schemas.microsoft.com/office/drawing/2014/main" val="36591842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Knotenty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nzah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Strom-verbrauch je Ebene [kWh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47161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8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207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Backb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5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5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83855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etr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5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5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0621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ee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6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5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089920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28799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de-DE" sz="3200" dirty="0"/>
              <a:t>Zur Simulation der </a:t>
            </a:r>
            <a:r>
              <a:rPr lang="de-DE" sz="3200" dirty="0" err="1"/>
              <a:t>Netzlast</a:t>
            </a:r>
            <a:r>
              <a:rPr lang="de-DE" sz="3200" dirty="0"/>
              <a:t> sind Routingentscheidungen notwendig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8885" y="2373287"/>
            <a:ext cx="4171951" cy="3115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8068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de-DE" sz="3200" dirty="0"/>
              <a:t>Routingentscheidungen sollten anhand eines selbstdefinierten Algorithmus getroffen werden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graphicFrame>
        <p:nvGraphicFramePr>
          <p:cNvPr id="6" name="Diagramm 5"/>
          <p:cNvGraphicFramePr/>
          <p:nvPr>
            <p:extLst/>
          </p:nvPr>
        </p:nvGraphicFramePr>
        <p:xfrm>
          <a:off x="822960" y="1737361"/>
          <a:ext cx="7543800" cy="45819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4187734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de-DE" sz="3200" dirty="0"/>
              <a:t>Der Routingalgorithmus funktioniert mit einem Kostenfaktor je Verbindung.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„Besten“ Weg von Daten-Quelle zu Senke je Netzlast berechnen</a:t>
            </a:r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Rekursiver Selbstaufruf je Verbindung an gewählter Routinghardware</a:t>
            </a:r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Entscheidung anhand Regelsatz und Kostenfaktor je Streck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/>
              <a:t>Bevorzugung bereits aktivierter Verbindungen und </a:t>
            </a:r>
            <a:r>
              <a:rPr lang="de-DE" dirty="0" err="1"/>
              <a:t>Netzwerkports</a:t>
            </a: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/>
              <a:t>Nur bei Bedarf weitere Netzhardware aktivieren und nutze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/>
              <a:t>Prüfung auf ausreichende Kapazitä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/>
              <a:t>Intelligentes Abbrechen zur Reduzierung praktische Ausführungszeit</a:t>
            </a:r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4367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de-DE" sz="3200" dirty="0"/>
              <a:t>Auftretende Komplexität zwingt bei der Implementierung zu Annahmen.</a:t>
            </a:r>
          </a:p>
        </p:txBody>
      </p:sp>
      <p:graphicFrame>
        <p:nvGraphicFramePr>
          <p:cNvPr id="5" name="Inhaltsplatzhalt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53840279"/>
              </p:ext>
            </p:extLst>
          </p:nvPr>
        </p:nvGraphicFramePr>
        <p:xfrm>
          <a:off x="822722" y="2241948"/>
          <a:ext cx="7543800" cy="30170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Nicholas </a:t>
            </a:r>
            <a:r>
              <a:rPr lang="en-US" dirty="0" err="1"/>
              <a:t>Cariss</a:t>
            </a:r>
            <a:r>
              <a:rPr lang="en-US" dirty="0"/>
              <a:t>, Stefan </a:t>
            </a:r>
            <a:r>
              <a:rPr lang="en-US" dirty="0" err="1"/>
              <a:t>Ludowicy</a:t>
            </a:r>
            <a:r>
              <a:rPr lang="en-US" dirty="0"/>
              <a:t>, Carmen </a:t>
            </a:r>
            <a:r>
              <a:rPr lang="en-US" dirty="0" err="1"/>
              <a:t>Scheer</a:t>
            </a:r>
            <a:r>
              <a:rPr lang="en-US" dirty="0"/>
              <a:t>, Dominik Schneider, Christian Keck, Max Junker, Veronika Lawrence</a:t>
            </a:r>
          </a:p>
        </p:txBody>
      </p:sp>
      <p:sp>
        <p:nvSpPr>
          <p:cNvPr id="4" name="Rechteck 3"/>
          <p:cNvSpPr/>
          <p:nvPr/>
        </p:nvSpPr>
        <p:spPr>
          <a:xfrm rot="20164706">
            <a:off x="2470258" y="2351161"/>
            <a:ext cx="4248727" cy="279861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Diese Annahmen machen die Simulation unbrauchbar, da sie sich zu weit von der Realität entfernt.</a:t>
            </a:r>
          </a:p>
          <a:p>
            <a:pPr algn="ctr"/>
            <a:endParaRPr lang="de-DE" dirty="0"/>
          </a:p>
          <a:p>
            <a:pPr algn="ctr"/>
            <a:r>
              <a:rPr lang="de-DE" dirty="0"/>
              <a:t>Daher wird der Energieverbrauch der beiden Netze abgeschätzt.</a:t>
            </a:r>
          </a:p>
        </p:txBody>
      </p:sp>
    </p:spTree>
    <p:extLst>
      <p:ext uri="{BB962C8B-B14F-4D97-AF65-F5344CB8AC3E}">
        <p14:creationId xmlns:p14="http://schemas.microsoft.com/office/powerpoint/2010/main" val="37221757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de-DE" sz="3200" dirty="0"/>
              <a:t>Basierend auf Annahmen konnte der Energiebedarf der zwei Netze abgeschätzt werden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sp>
        <p:nvSpPr>
          <p:cNvPr id="11" name="Inhaltsplatzhalter 2"/>
          <p:cNvSpPr txBox="1">
            <a:spLocks/>
          </p:cNvSpPr>
          <p:nvPr/>
        </p:nvSpPr>
        <p:spPr>
          <a:xfrm>
            <a:off x="5943600" y="2692400"/>
            <a:ext cx="2717800" cy="2044700"/>
          </a:xfrm>
          <a:prstGeom prst="rect">
            <a:avLst/>
          </a:prstGeom>
        </p:spPr>
        <p:txBody>
          <a:bodyPr/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/>
              <a:t>Energieeinsparpotential pro Jahr:</a:t>
            </a:r>
          </a:p>
          <a:p>
            <a:pPr marL="203597" indent="-203597">
              <a:buFont typeface="Wingdings" panose="05000000000000000000" pitchFamily="2" charset="2"/>
              <a:buChar char="§"/>
            </a:pPr>
            <a:r>
              <a:rPr lang="de-DE" dirty="0"/>
              <a:t>23,5 % vom Gesamtverbrauch</a:t>
            </a:r>
          </a:p>
          <a:p>
            <a:pPr marL="203597" indent="-203597">
              <a:buFont typeface="Wingdings" panose="05000000000000000000" pitchFamily="2" charset="2"/>
              <a:buChar char="§"/>
            </a:pPr>
            <a:r>
              <a:rPr lang="de-DE" dirty="0"/>
              <a:t>91.500 €</a:t>
            </a:r>
          </a:p>
        </p:txBody>
      </p:sp>
      <p:pic>
        <p:nvPicPr>
          <p:cNvPr id="13" name="Bild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100" y="2097585"/>
            <a:ext cx="5422900" cy="3788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5733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de-DE" sz="3200" dirty="0"/>
              <a:t>Für die Abschätzungssoftware wurde folgende Software-Architektur gewählt. 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pic>
        <p:nvPicPr>
          <p:cNvPr id="1026" name="Picture 2" descr="https://github.com/EnergyNetSim/ProjectDocumentation/raw/master/images/ErgSoftwareMVC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21459" y="1901094"/>
            <a:ext cx="4301082" cy="43102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960836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ftware-Demo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ive im System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7966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de-DE" sz="3200" dirty="0"/>
              <a:t>Durch zukünftige Maßnahmen kann die Ab-</a:t>
            </a:r>
            <a:r>
              <a:rPr lang="de-DE" sz="3200" dirty="0" err="1"/>
              <a:t>schätzungssoftware</a:t>
            </a:r>
            <a:r>
              <a:rPr lang="de-DE" sz="3200" dirty="0"/>
              <a:t> optimiert werden.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sp>
        <p:nvSpPr>
          <p:cNvPr id="4" name="Freihandform 3"/>
          <p:cNvSpPr/>
          <p:nvPr/>
        </p:nvSpPr>
        <p:spPr>
          <a:xfrm>
            <a:off x="934596" y="2277835"/>
            <a:ext cx="6805147" cy="3068057"/>
          </a:xfrm>
          <a:custGeom>
            <a:avLst/>
            <a:gdLst>
              <a:gd name="connsiteX0" fmla="*/ 0 w 7483642"/>
              <a:gd name="connsiteY0" fmla="*/ 3392905 h 3392905"/>
              <a:gd name="connsiteX1" fmla="*/ 7170821 w 7483642"/>
              <a:gd name="connsiteY1" fmla="*/ 2586790 h 3392905"/>
              <a:gd name="connsiteX2" fmla="*/ 2911642 w 7483642"/>
              <a:gd name="connsiteY2" fmla="*/ 1335505 h 3392905"/>
              <a:gd name="connsiteX3" fmla="*/ 7483642 w 7483642"/>
              <a:gd name="connsiteY3" fmla="*/ 0 h 3392905"/>
              <a:gd name="connsiteX0" fmla="*/ 0 w 7483642"/>
              <a:gd name="connsiteY0" fmla="*/ 3392905 h 3392905"/>
              <a:gd name="connsiteX1" fmla="*/ 7170821 w 7483642"/>
              <a:gd name="connsiteY1" fmla="*/ 2586790 h 3392905"/>
              <a:gd name="connsiteX2" fmla="*/ 2764685 w 7483642"/>
              <a:gd name="connsiteY2" fmla="*/ 1211741 h 3392905"/>
              <a:gd name="connsiteX3" fmla="*/ 7483642 w 7483642"/>
              <a:gd name="connsiteY3" fmla="*/ 0 h 3392905"/>
              <a:gd name="connsiteX0" fmla="*/ 0 w 7483642"/>
              <a:gd name="connsiteY0" fmla="*/ 3392905 h 3392905"/>
              <a:gd name="connsiteX1" fmla="*/ 6989949 w 7483642"/>
              <a:gd name="connsiteY1" fmla="*/ 2721806 h 3392905"/>
              <a:gd name="connsiteX2" fmla="*/ 2764685 w 7483642"/>
              <a:gd name="connsiteY2" fmla="*/ 1211741 h 3392905"/>
              <a:gd name="connsiteX3" fmla="*/ 7483642 w 7483642"/>
              <a:gd name="connsiteY3" fmla="*/ 0 h 3392905"/>
              <a:gd name="connsiteX0" fmla="*/ 0 w 7483642"/>
              <a:gd name="connsiteY0" fmla="*/ 3392905 h 3392905"/>
              <a:gd name="connsiteX1" fmla="*/ 6989949 w 7483642"/>
              <a:gd name="connsiteY1" fmla="*/ 2721806 h 3392905"/>
              <a:gd name="connsiteX2" fmla="*/ 2764685 w 7483642"/>
              <a:gd name="connsiteY2" fmla="*/ 1211741 h 3392905"/>
              <a:gd name="connsiteX3" fmla="*/ 7483642 w 7483642"/>
              <a:gd name="connsiteY3" fmla="*/ 0 h 3392905"/>
              <a:gd name="connsiteX0" fmla="*/ 0 w 7483642"/>
              <a:gd name="connsiteY0" fmla="*/ 3392905 h 3392905"/>
              <a:gd name="connsiteX1" fmla="*/ 6989949 w 7483642"/>
              <a:gd name="connsiteY1" fmla="*/ 2721806 h 3392905"/>
              <a:gd name="connsiteX2" fmla="*/ 2764685 w 7483642"/>
              <a:gd name="connsiteY2" fmla="*/ 1211741 h 3392905"/>
              <a:gd name="connsiteX3" fmla="*/ 7483642 w 7483642"/>
              <a:gd name="connsiteY3" fmla="*/ 0 h 3392905"/>
              <a:gd name="connsiteX0" fmla="*/ 0 w 7483642"/>
              <a:gd name="connsiteY0" fmla="*/ 3392905 h 3392905"/>
              <a:gd name="connsiteX1" fmla="*/ 6989949 w 7483642"/>
              <a:gd name="connsiteY1" fmla="*/ 2721806 h 3392905"/>
              <a:gd name="connsiteX2" fmla="*/ 2764685 w 7483642"/>
              <a:gd name="connsiteY2" fmla="*/ 1211741 h 3392905"/>
              <a:gd name="connsiteX3" fmla="*/ 7483642 w 7483642"/>
              <a:gd name="connsiteY3" fmla="*/ 0 h 3392905"/>
              <a:gd name="connsiteX0" fmla="*/ 0 w 7483642"/>
              <a:gd name="connsiteY0" fmla="*/ 3392905 h 3392905"/>
              <a:gd name="connsiteX1" fmla="*/ 6989949 w 7483642"/>
              <a:gd name="connsiteY1" fmla="*/ 2721806 h 3392905"/>
              <a:gd name="connsiteX2" fmla="*/ 2764685 w 7483642"/>
              <a:gd name="connsiteY2" fmla="*/ 1211741 h 3392905"/>
              <a:gd name="connsiteX3" fmla="*/ 7483642 w 7483642"/>
              <a:gd name="connsiteY3" fmla="*/ 0 h 3392905"/>
              <a:gd name="connsiteX0" fmla="*/ 0 w 7619295"/>
              <a:gd name="connsiteY0" fmla="*/ 3527921 h 3527921"/>
              <a:gd name="connsiteX1" fmla="*/ 6989949 w 7619295"/>
              <a:gd name="connsiteY1" fmla="*/ 2856822 h 3527921"/>
              <a:gd name="connsiteX2" fmla="*/ 2764685 w 7619295"/>
              <a:gd name="connsiteY2" fmla="*/ 1346757 h 3527921"/>
              <a:gd name="connsiteX3" fmla="*/ 7619295 w 7619295"/>
              <a:gd name="connsiteY3" fmla="*/ 0 h 3527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619295" h="3527921">
                <a:moveTo>
                  <a:pt x="0" y="3527921"/>
                </a:moveTo>
                <a:cubicBezTo>
                  <a:pt x="3342773" y="3296313"/>
                  <a:pt x="6450037" y="3670403"/>
                  <a:pt x="6989949" y="2856822"/>
                </a:cubicBezTo>
                <a:cubicBezTo>
                  <a:pt x="7529861" y="2043241"/>
                  <a:pt x="2659794" y="1822894"/>
                  <a:pt x="2764685" y="1346757"/>
                </a:cubicBezTo>
                <a:cubicBezTo>
                  <a:pt x="2869576" y="870620"/>
                  <a:pt x="7198809" y="408285"/>
                  <a:pt x="7619295" y="0"/>
                </a:cubicBezTo>
              </a:path>
            </a:pathLst>
          </a:custGeom>
          <a:noFill/>
          <a:ln w="190500">
            <a:tailEnd type="stealt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5" name="Picture 2" descr="http://ultimatedestinationweddingguide.com/wp-content/uploads/2015/02/blue-map-icon.png"/>
          <p:cNvPicPr>
            <a:picLocks noChangeAspect="1" noChangeArrowheads="1"/>
          </p:cNvPicPr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453" y="4573026"/>
            <a:ext cx="439805" cy="710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http://ultimatedestinationweddingguide.com/wp-content/uploads/2015/02/blue-map-icon.png"/>
          <p:cNvPicPr>
            <a:picLocks noChangeAspect="1" noChangeArrowheads="1"/>
          </p:cNvPicPr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7978" y="3715776"/>
            <a:ext cx="439805" cy="710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http://ultimatedestinationweddingguide.com/wp-content/uploads/2015/02/blue-map-icon.png"/>
          <p:cNvPicPr>
            <a:picLocks noChangeAspect="1" noChangeArrowheads="1"/>
          </p:cNvPicPr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8760" y="2711569"/>
            <a:ext cx="439805" cy="710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http://ultimatedestinationweddingguide.com/wp-content/uploads/2015/02/blue-map-icon.png"/>
          <p:cNvPicPr>
            <a:picLocks noChangeAspect="1" noChangeArrowheads="1"/>
          </p:cNvPicPr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7266" y="4544451"/>
            <a:ext cx="439805" cy="710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1884258" y="4299374"/>
            <a:ext cx="225367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Entity-</a:t>
            </a:r>
            <a:r>
              <a:rPr lang="de-DE" dirty="0" err="1"/>
              <a:t>Relationship</a:t>
            </a:r>
            <a:r>
              <a:rPr lang="de-DE" dirty="0"/>
              <a:t>-Schema in Datenbank implementieren</a:t>
            </a:r>
          </a:p>
          <a:p>
            <a:endParaRPr lang="de-DE" dirty="0"/>
          </a:p>
        </p:txBody>
      </p:sp>
      <p:sp>
        <p:nvSpPr>
          <p:cNvPr id="11" name="Textfeld 10"/>
          <p:cNvSpPr txBox="1"/>
          <p:nvPr/>
        </p:nvSpPr>
        <p:spPr>
          <a:xfrm>
            <a:off x="4654378" y="4462706"/>
            <a:ext cx="2133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Routing-Algorithmus implementieren</a:t>
            </a:r>
          </a:p>
          <a:p>
            <a:endParaRPr lang="de-DE" dirty="0"/>
          </a:p>
        </p:txBody>
      </p:sp>
      <p:sp>
        <p:nvSpPr>
          <p:cNvPr id="12" name="Textfeld 11"/>
          <p:cNvSpPr txBox="1"/>
          <p:nvPr/>
        </p:nvSpPr>
        <p:spPr>
          <a:xfrm>
            <a:off x="7304426" y="3470699"/>
            <a:ext cx="17472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Unterschiedliche Netzlastprofile hinterlegen</a:t>
            </a:r>
          </a:p>
          <a:p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1462602" y="2614989"/>
            <a:ext cx="22259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Netzkonfiguration über graphische Oberfläche</a:t>
            </a:r>
          </a:p>
        </p:txBody>
      </p:sp>
    </p:spTree>
    <p:extLst>
      <p:ext uri="{BB962C8B-B14F-4D97-AF65-F5344CB8AC3E}">
        <p14:creationId xmlns:p14="http://schemas.microsoft.com/office/powerpoint/2010/main" val="1497872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192474" y="2123677"/>
            <a:ext cx="4761432" cy="1938992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de-DE" sz="405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„Konsequent ist es, auch einen Holzweg zu Ende zu gehen.“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5590006" y="4062669"/>
            <a:ext cx="13639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accent2"/>
                </a:solidFill>
              </a:rPr>
              <a:t>[Volksmund]</a:t>
            </a:r>
          </a:p>
        </p:txBody>
      </p:sp>
    </p:spTree>
    <p:extLst>
      <p:ext uri="{BB962C8B-B14F-4D97-AF65-F5344CB8AC3E}">
        <p14:creationId xmlns:p14="http://schemas.microsoft.com/office/powerpoint/2010/main" val="31531419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de-DE" sz="3200" dirty="0"/>
              <a:t>Eine Reihe an Lern- und Forschungs-ergebnissen wurde im Projekt erreicht.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3223260" y="1962717"/>
            <a:ext cx="2743200" cy="901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Entwickelter Algorithmus</a:t>
            </a:r>
          </a:p>
        </p:txBody>
      </p:sp>
      <p:sp>
        <p:nvSpPr>
          <p:cNvPr id="9" name="Rechteck 8"/>
          <p:cNvSpPr/>
          <p:nvPr/>
        </p:nvSpPr>
        <p:spPr>
          <a:xfrm>
            <a:off x="3223260" y="3016182"/>
            <a:ext cx="2743200" cy="901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Implementierte Software</a:t>
            </a:r>
          </a:p>
        </p:txBody>
      </p:sp>
      <p:sp>
        <p:nvSpPr>
          <p:cNvPr id="10" name="Rechteck 9"/>
          <p:cNvSpPr/>
          <p:nvPr/>
        </p:nvSpPr>
        <p:spPr>
          <a:xfrm>
            <a:off x="3223260" y="4069647"/>
            <a:ext cx="2743200" cy="901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iteraturüberblick</a:t>
            </a:r>
          </a:p>
        </p:txBody>
      </p:sp>
      <p:sp>
        <p:nvSpPr>
          <p:cNvPr id="11" name="Rechteck 10"/>
          <p:cNvSpPr/>
          <p:nvPr/>
        </p:nvSpPr>
        <p:spPr>
          <a:xfrm>
            <a:off x="3223260" y="5118100"/>
            <a:ext cx="2743200" cy="901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bschätzung Energieverbrauch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730" y="1962717"/>
            <a:ext cx="2110190" cy="1955165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46800" y="1958608"/>
            <a:ext cx="2219960" cy="1959274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pic>
        <p:nvPicPr>
          <p:cNvPr id="15" name="Bild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40280" y="4069648"/>
            <a:ext cx="2226480" cy="1950152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9250" y="4069647"/>
            <a:ext cx="2110190" cy="1950153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6157595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7200" dirty="0"/>
              <a:t>Vielen Dank für Ihre Aufmerksamkeit!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797428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58691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artbildschirm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pic>
        <p:nvPicPr>
          <p:cNvPr id="32770" name="Picture 2" descr="https://github.com/EnergyNetSim/ProjectDocumentation/raw/master/images/ErgSoftwareUse1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94420" y="1883344"/>
            <a:ext cx="5755161" cy="4320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3500255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tzwerkauswahl und Einstellung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1242788" y="2647617"/>
            <a:ext cx="6658425" cy="2514600"/>
            <a:chOff x="1332742" y="2647617"/>
            <a:chExt cx="6658425" cy="2514600"/>
          </a:xfrm>
        </p:grpSpPr>
        <p:pic>
          <p:nvPicPr>
            <p:cNvPr id="33794" name="Picture 2" descr="https://github.com/EnergyNetSim/ProjectDocumentation/raw/master/images/ErgSoftwareUse2.png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332742" y="2733342"/>
              <a:ext cx="2286000" cy="2343150"/>
            </a:xfrm>
            <a:prstGeom prst="rect">
              <a:avLst/>
            </a:prstGeom>
            <a:noFill/>
          </p:spPr>
        </p:pic>
        <p:pic>
          <p:nvPicPr>
            <p:cNvPr id="33796" name="Picture 4" descr="https://github.com/EnergyNetSim/ProjectDocumentation/raw/master/images/ErgSoftwareUse3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608204" y="2647617"/>
              <a:ext cx="3382963" cy="2514600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36232959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Ausgabe der </a:t>
            </a:r>
            <a:r>
              <a:rPr lang="de-DE" dirty="0" err="1"/>
              <a:t>Netzlast</a:t>
            </a:r>
            <a:r>
              <a:rPr lang="de-DE" dirty="0"/>
              <a:t>, des Stromverbrauchs und den Kos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pic>
        <p:nvPicPr>
          <p:cNvPr id="34818" name="Picture 2" descr="https://github.com/EnergyNetSim/ProjectDocumentation/raw/master/images/ErgSoftwareUse4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96660" y="1883344"/>
            <a:ext cx="5750681" cy="4320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95580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069256" y="2205294"/>
            <a:ext cx="5007869" cy="1938992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de-DE" sz="405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„Wenn Du entdeckst, dass Du ein totes Pferd reitest, steig ab.“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3997243" y="4144286"/>
            <a:ext cx="30798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accent2"/>
                </a:solidFill>
              </a:rPr>
              <a:t>[Weisheit der Dakota-Indianer]</a:t>
            </a:r>
          </a:p>
        </p:txBody>
      </p:sp>
    </p:spTree>
    <p:extLst>
      <p:ext uri="{BB962C8B-B14F-4D97-AF65-F5344CB8AC3E}">
        <p14:creationId xmlns:p14="http://schemas.microsoft.com/office/powerpoint/2010/main" val="3909194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de-DE" dirty="0"/>
              <a:t>Motivation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Ansätze für energieeffiziente Netze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Projektvorgehen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Vorstellung der Ergebnisse:</a:t>
            </a:r>
          </a:p>
          <a:p>
            <a:pPr marL="749808" lvl="1" indent="-457200">
              <a:buFont typeface="+mj-lt"/>
              <a:buAutoNum type="alphaLcParenR"/>
            </a:pPr>
            <a:r>
              <a:rPr lang="de-DE" dirty="0"/>
              <a:t>Algorithmus</a:t>
            </a:r>
          </a:p>
          <a:p>
            <a:pPr marL="749808" lvl="1" indent="-457200">
              <a:buFont typeface="+mj-lt"/>
              <a:buAutoNum type="alphaLcParenR"/>
            </a:pPr>
            <a:r>
              <a:rPr lang="de-DE" dirty="0"/>
              <a:t>Komplexität in realen Netzen</a:t>
            </a:r>
          </a:p>
          <a:p>
            <a:pPr marL="749808" lvl="1" indent="-457200">
              <a:buFont typeface="+mj-lt"/>
              <a:buAutoNum type="alphaLcParenR"/>
            </a:pPr>
            <a:r>
              <a:rPr lang="de-DE" dirty="0"/>
              <a:t>Abschätzung des Energieverbrauchs</a:t>
            </a:r>
          </a:p>
          <a:p>
            <a:pPr marL="749808" lvl="1" indent="-457200">
              <a:buFont typeface="+mj-lt"/>
              <a:buAutoNum type="alphaLcParenR"/>
            </a:pPr>
            <a:r>
              <a:rPr lang="de-DE" dirty="0"/>
              <a:t>Software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Zusammenfassung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de-DE" dirty="0"/>
              <a:t>Wirtschaftlichkeit von energieeffizienten Netzkonzep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8614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de-DE" sz="3200" dirty="0"/>
              <a:t>Die Zahl der vernetzen Geräte steigt exponentiell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6520" y="2174545"/>
            <a:ext cx="5227079" cy="374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007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de-DE" sz="3200" dirty="0"/>
              <a:t>Zunehmende Vernetzung führt zu hohem Anteil von ICT am weltweiten Stromverbrauch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graphicFrame>
        <p:nvGraphicFramePr>
          <p:cNvPr id="5" name="Diagramm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54519800"/>
              </p:ext>
            </p:extLst>
          </p:nvPr>
        </p:nvGraphicFramePr>
        <p:xfrm>
          <a:off x="914400" y="2013526"/>
          <a:ext cx="7148945" cy="39346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2883754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" name="Objekt 6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3" name="Objekt 6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gray">
          <a:xfrm>
            <a:off x="0" y="857250"/>
            <a:ext cx="119063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050" dirty="0">
              <a:latin typeface="Tele-GroteskNor" pitchFamily="2" charset="0"/>
              <a:sym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de-DE" sz="3200" dirty="0"/>
              <a:t>Der Stromverbrauch für ICT Netze ist trotz schwankender Last konstant hoch.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  <p:grpSp>
        <p:nvGrpSpPr>
          <p:cNvPr id="3" name="Gruppieren 2"/>
          <p:cNvGrpSpPr/>
          <p:nvPr/>
        </p:nvGrpSpPr>
        <p:grpSpPr>
          <a:xfrm>
            <a:off x="944869" y="2239352"/>
            <a:ext cx="7299982" cy="3123247"/>
            <a:chOff x="996236" y="2304007"/>
            <a:chExt cx="7299982" cy="3123247"/>
          </a:xfrm>
        </p:grpSpPr>
        <p:graphicFrame>
          <p:nvGraphicFramePr>
            <p:cNvPr id="65" name="Diagramm 6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422079516"/>
                </p:ext>
              </p:extLst>
            </p:nvPr>
          </p:nvGraphicFramePr>
          <p:xfrm>
            <a:off x="1373086" y="2304007"/>
            <a:ext cx="6452917" cy="282316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66" name="Textfeld 65"/>
            <p:cNvSpPr txBox="1"/>
            <p:nvPr/>
          </p:nvSpPr>
          <p:spPr>
            <a:xfrm rot="16200000">
              <a:off x="-123270" y="3495312"/>
              <a:ext cx="2539094" cy="3000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350" dirty="0"/>
                <a:t>Last (normalisiert)</a:t>
              </a:r>
            </a:p>
          </p:txBody>
        </p:sp>
        <p:sp>
          <p:nvSpPr>
            <p:cNvPr id="67" name="Textfeld 66"/>
            <p:cNvSpPr txBox="1"/>
            <p:nvPr/>
          </p:nvSpPr>
          <p:spPr>
            <a:xfrm>
              <a:off x="1612981" y="5127172"/>
              <a:ext cx="6213022" cy="3000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350" dirty="0"/>
                <a:t>Uhrzeit</a:t>
              </a:r>
            </a:p>
          </p:txBody>
        </p:sp>
        <p:sp>
          <p:nvSpPr>
            <p:cNvPr id="70" name="Textfeld 69"/>
            <p:cNvSpPr txBox="1"/>
            <p:nvPr/>
          </p:nvSpPr>
          <p:spPr>
            <a:xfrm>
              <a:off x="2249361" y="4093213"/>
              <a:ext cx="200118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>
                  <a:solidFill>
                    <a:schemeClr val="accent1"/>
                  </a:solidFill>
                </a:rPr>
                <a:t>Idealtypische Netzlast-Kurve</a:t>
              </a:r>
            </a:p>
          </p:txBody>
        </p:sp>
        <p:sp>
          <p:nvSpPr>
            <p:cNvPr id="72" name="Textfeld 71"/>
            <p:cNvSpPr txBox="1"/>
            <p:nvPr/>
          </p:nvSpPr>
          <p:spPr>
            <a:xfrm>
              <a:off x="7717694" y="4810311"/>
              <a:ext cx="227948" cy="1962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675" dirty="0">
                  <a:solidFill>
                    <a:srgbClr val="FF0000"/>
                  </a:solidFill>
                </a:rPr>
                <a:t>0</a:t>
              </a:r>
            </a:p>
          </p:txBody>
        </p:sp>
        <p:sp>
          <p:nvSpPr>
            <p:cNvPr id="73" name="Textfeld 72"/>
            <p:cNvSpPr txBox="1"/>
            <p:nvPr/>
          </p:nvSpPr>
          <p:spPr>
            <a:xfrm>
              <a:off x="7717694" y="4390703"/>
              <a:ext cx="335348" cy="1962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675" dirty="0">
                  <a:solidFill>
                    <a:srgbClr val="FF0000"/>
                  </a:solidFill>
                </a:rPr>
                <a:t>0,25</a:t>
              </a:r>
            </a:p>
          </p:txBody>
        </p:sp>
        <p:sp>
          <p:nvSpPr>
            <p:cNvPr id="74" name="Textfeld 73"/>
            <p:cNvSpPr txBox="1"/>
            <p:nvPr/>
          </p:nvSpPr>
          <p:spPr>
            <a:xfrm>
              <a:off x="7717694" y="3971096"/>
              <a:ext cx="335348" cy="1962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675" dirty="0">
                  <a:solidFill>
                    <a:srgbClr val="FF0000"/>
                  </a:solidFill>
                </a:rPr>
                <a:t>0,50</a:t>
              </a:r>
            </a:p>
          </p:txBody>
        </p:sp>
        <p:sp>
          <p:nvSpPr>
            <p:cNvPr id="75" name="Textfeld 74"/>
            <p:cNvSpPr txBox="1"/>
            <p:nvPr/>
          </p:nvSpPr>
          <p:spPr>
            <a:xfrm>
              <a:off x="7717694" y="3559652"/>
              <a:ext cx="335348" cy="1962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675" dirty="0">
                  <a:solidFill>
                    <a:srgbClr val="FF0000"/>
                  </a:solidFill>
                </a:rPr>
                <a:t>0,75</a:t>
              </a:r>
            </a:p>
          </p:txBody>
        </p:sp>
        <p:sp>
          <p:nvSpPr>
            <p:cNvPr id="76" name="Textfeld 75"/>
            <p:cNvSpPr txBox="1"/>
            <p:nvPr/>
          </p:nvSpPr>
          <p:spPr>
            <a:xfrm>
              <a:off x="7717694" y="3140045"/>
              <a:ext cx="335348" cy="1962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675" dirty="0">
                  <a:solidFill>
                    <a:srgbClr val="FF0000"/>
                  </a:solidFill>
                </a:rPr>
                <a:t>1,00</a:t>
              </a:r>
            </a:p>
          </p:txBody>
        </p:sp>
        <p:sp>
          <p:nvSpPr>
            <p:cNvPr id="77" name="Textfeld 76"/>
            <p:cNvSpPr txBox="1"/>
            <p:nvPr/>
          </p:nvSpPr>
          <p:spPr>
            <a:xfrm>
              <a:off x="7717694" y="2736766"/>
              <a:ext cx="335348" cy="1962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675" dirty="0">
                  <a:solidFill>
                    <a:srgbClr val="FF0000"/>
                  </a:solidFill>
                </a:rPr>
                <a:t>1,25</a:t>
              </a:r>
            </a:p>
          </p:txBody>
        </p:sp>
        <p:sp>
          <p:nvSpPr>
            <p:cNvPr id="78" name="Textfeld 77"/>
            <p:cNvSpPr txBox="1"/>
            <p:nvPr/>
          </p:nvSpPr>
          <p:spPr>
            <a:xfrm>
              <a:off x="7717694" y="2320192"/>
              <a:ext cx="335348" cy="1962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675" dirty="0">
                  <a:solidFill>
                    <a:srgbClr val="FF0000"/>
                  </a:solidFill>
                </a:rPr>
                <a:t>1,50</a:t>
              </a:r>
            </a:p>
          </p:txBody>
        </p:sp>
        <p:sp>
          <p:nvSpPr>
            <p:cNvPr id="79" name="Textfeld 78"/>
            <p:cNvSpPr txBox="1"/>
            <p:nvPr/>
          </p:nvSpPr>
          <p:spPr>
            <a:xfrm rot="16200000">
              <a:off x="6848823" y="3467505"/>
              <a:ext cx="2594708" cy="3000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350" dirty="0"/>
                <a:t>Stromverbrauch / Stunde (MWh)</a:t>
              </a:r>
            </a:p>
          </p:txBody>
        </p:sp>
        <p:cxnSp>
          <p:nvCxnSpPr>
            <p:cNvPr id="81" name="Gerader Verbinder 80"/>
            <p:cNvCxnSpPr/>
            <p:nvPr/>
          </p:nvCxnSpPr>
          <p:spPr>
            <a:xfrm>
              <a:off x="1725651" y="2575834"/>
              <a:ext cx="5832000" cy="861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feld 81"/>
            <p:cNvSpPr txBox="1"/>
            <p:nvPr/>
          </p:nvSpPr>
          <p:spPr>
            <a:xfrm>
              <a:off x="5551642" y="2572224"/>
              <a:ext cx="195329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>
                  <a:solidFill>
                    <a:srgbClr val="FF0000"/>
                  </a:solidFill>
                </a:rPr>
                <a:t>Stromverbrauch pro Stun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379247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de-DE" sz="3200" dirty="0"/>
              <a:t>Energieeffizienz von ICT Netzen kann durch verschiedene Ansätze erhöht werden. </a:t>
            </a:r>
          </a:p>
        </p:txBody>
      </p:sp>
      <p:graphicFrame>
        <p:nvGraphicFramePr>
          <p:cNvPr id="9" name="Inhaltsplatzhalter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60325503"/>
              </p:ext>
            </p:extLst>
          </p:nvPr>
        </p:nvGraphicFramePr>
        <p:xfrm>
          <a:off x="822960" y="2241551"/>
          <a:ext cx="7543800" cy="3017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94071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de-DE" sz="3200" dirty="0"/>
              <a:t>Zur Untersuchung der Wirtschaftlichkeit energieeffizienter Netze wurden folgende Projektziele definiert. </a:t>
            </a:r>
          </a:p>
        </p:txBody>
      </p:sp>
      <p:graphicFrame>
        <p:nvGraphicFramePr>
          <p:cNvPr id="7" name="Inhaltsplatzhalt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78933324"/>
              </p:ext>
            </p:extLst>
          </p:nvPr>
        </p:nvGraphicFramePr>
        <p:xfrm>
          <a:off x="822722" y="2241948"/>
          <a:ext cx="7543800" cy="30170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icholas Cariss, Stefan Ludowicy, Carmen Scheer, Dominik Schneider, Christian Keck, Max Junker, Veronika Lawre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4665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L1IqhjRZODv2YWbwpRyw"/>
</p:tagLst>
</file>

<file path=ppt/theme/theme1.xml><?xml version="1.0" encoding="utf-8"?>
<a:theme xmlns:a="http://schemas.openxmlformats.org/drawingml/2006/main" name="Rückblick">
  <a:themeElements>
    <a:clrScheme name="Rückblick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6B9F25"/>
      </a:hlink>
      <a:folHlink>
        <a:srgbClr val="B26B02"/>
      </a:folHlink>
    </a:clrScheme>
    <a:fontScheme name="Rückblick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ückblick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D26EA377-59BD-4C9C-9D94-EE8416EE4C7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0</TotalTime>
  <Words>1040</Words>
  <Application>Microsoft Office PowerPoint</Application>
  <PresentationFormat>Bildschirmpräsentation (4:3)</PresentationFormat>
  <Paragraphs>160</Paragraphs>
  <Slides>25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2" baseType="lpstr">
      <vt:lpstr>Arial</vt:lpstr>
      <vt:lpstr>Calibri</vt:lpstr>
      <vt:lpstr>Calibri Light</vt:lpstr>
      <vt:lpstr>Tele-GroteskNor</vt:lpstr>
      <vt:lpstr>Wingdings</vt:lpstr>
      <vt:lpstr>Rückblick</vt:lpstr>
      <vt:lpstr>think-cell Folie</vt:lpstr>
      <vt:lpstr>WAB 3</vt:lpstr>
      <vt:lpstr>PowerPoint-Präsentation</vt:lpstr>
      <vt:lpstr>PowerPoint-Präsentation</vt:lpstr>
      <vt:lpstr>Agenda</vt:lpstr>
      <vt:lpstr>Die Zahl der vernetzen Geräte steigt exponentiell.</vt:lpstr>
      <vt:lpstr>Zunehmende Vernetzung führt zu hohem Anteil von ICT am weltweiten Stromverbrauch.</vt:lpstr>
      <vt:lpstr>Der Stromverbrauch für ICT Netze ist trotz schwankender Last konstant hoch.</vt:lpstr>
      <vt:lpstr>Energieeffizienz von ICT Netzen kann durch verschiedene Ansätze erhöht werden. </vt:lpstr>
      <vt:lpstr>Zur Untersuchung der Wirtschaftlichkeit energieeffizienter Netze wurden folgende Projektziele definiert. </vt:lpstr>
      <vt:lpstr>Die Projektaufgaben wurden durch Tools für verteiltes Arbeiten unterstützt. </vt:lpstr>
      <vt:lpstr>Die Modellierung eines Beispielnetzes erfolgte basierend auf einem italienischen Providernetz. </vt:lpstr>
      <vt:lpstr>Zur Simulation der Netzlast sind Routingentscheidungen notwendig.</vt:lpstr>
      <vt:lpstr>Routingentscheidungen sollten anhand eines selbstdefinierten Algorithmus getroffen werden.</vt:lpstr>
      <vt:lpstr>Der Routingalgorithmus funktioniert mit einem Kostenfaktor je Verbindung.</vt:lpstr>
      <vt:lpstr>Auftretende Komplexität zwingt bei der Implementierung zu Annahmen.</vt:lpstr>
      <vt:lpstr>Basierend auf Annahmen konnte der Energiebedarf der zwei Netze abgeschätzt werden.</vt:lpstr>
      <vt:lpstr>Für die Abschätzungssoftware wurde folgende Software-Architektur gewählt. </vt:lpstr>
      <vt:lpstr>Software-Demo</vt:lpstr>
      <vt:lpstr>Durch zukünftige Maßnahmen kann die Ab-schätzungssoftware optimiert werden. </vt:lpstr>
      <vt:lpstr>Eine Reihe an Lern- und Forschungs-ergebnissen wurde im Projekt erreicht.</vt:lpstr>
      <vt:lpstr>Vielen Dank für Ihre Aufmerksamkeit!</vt:lpstr>
      <vt:lpstr>Backup</vt:lpstr>
      <vt:lpstr>Startbildschirm</vt:lpstr>
      <vt:lpstr>Netzwerkauswahl und Einstellungen</vt:lpstr>
      <vt:lpstr>Ausgabe der Netzlast, des Stromverbrauchs und den Kost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AB 3</dc:title>
  <dc:creator>Vero</dc:creator>
  <cp:lastModifiedBy>V L</cp:lastModifiedBy>
  <cp:revision>85</cp:revision>
  <dcterms:created xsi:type="dcterms:W3CDTF">2016-04-27T17:30:50Z</dcterms:created>
  <dcterms:modified xsi:type="dcterms:W3CDTF">2016-07-08T13:39:54Z</dcterms:modified>
</cp:coreProperties>
</file>